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98" r:id="rId6"/>
    <p:sldMasterId id="2147483775" r:id="rId7"/>
    <p:sldMasterId id="2147483793" r:id="rId8"/>
  </p:sldMasterIdLst>
  <p:notesMasterIdLst>
    <p:notesMasterId r:id="rId15"/>
  </p:notesMasterIdLst>
  <p:handoutMasterIdLst>
    <p:handoutMasterId r:id="rId16"/>
  </p:handoutMasterIdLst>
  <p:sldIdLst>
    <p:sldId id="256" r:id="rId9"/>
    <p:sldId id="1088" r:id="rId10"/>
    <p:sldId id="1143" r:id="rId11"/>
    <p:sldId id="1140" r:id="rId12"/>
    <p:sldId id="1141" r:id="rId13"/>
    <p:sldId id="1142" r:id="rId14"/>
  </p:sldIdLst>
  <p:sldSz cx="12190413" cy="6859588"/>
  <p:notesSz cx="6797675" cy="9926638"/>
  <p:custDataLst>
    <p:tags r:id="rId17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5" userDrawn="1">
          <p15:clr>
            <a:srgbClr val="A4A3A4"/>
          </p15:clr>
        </p15:guide>
        <p15:guide id="4" orient="horz" pos="822" userDrawn="1">
          <p15:clr>
            <a:srgbClr val="A4A3A4"/>
          </p15:clr>
        </p15:guide>
        <p15:guide id="10" orient="horz" pos="959" userDrawn="1">
          <p15:clr>
            <a:srgbClr val="A4A3A4"/>
          </p15:clr>
        </p15:guide>
        <p15:guide id="12" orient="horz" pos="278" userDrawn="1">
          <p15:clr>
            <a:srgbClr val="A4A3A4"/>
          </p15:clr>
        </p15:guide>
        <p15:guide id="22" orient="horz" pos="2387" userDrawn="1">
          <p15:clr>
            <a:srgbClr val="A4A3A4"/>
          </p15:clr>
        </p15:guide>
        <p15:guide id="29" pos="320">
          <p15:clr>
            <a:srgbClr val="A4A3A4"/>
          </p15:clr>
        </p15:guide>
        <p15:guide id="79" orient="horz" pos="3839" userDrawn="1">
          <p15:clr>
            <a:srgbClr val="A4A3A4"/>
          </p15:clr>
        </p15:guide>
        <p15:guide id="80" orient="horz" pos="3998" userDrawn="1">
          <p15:clr>
            <a:srgbClr val="A4A3A4"/>
          </p15:clr>
        </p15:guide>
        <p15:guide id="81" orient="horz" pos="4179" userDrawn="1">
          <p15:clr>
            <a:srgbClr val="A4A3A4"/>
          </p15:clr>
        </p15:guide>
        <p15:guide id="84" pos="7364" userDrawn="1">
          <p15:clr>
            <a:srgbClr val="A4A3A4"/>
          </p15:clr>
        </p15:guide>
        <p15:guide id="85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DADD"/>
    <a:srgbClr val="005560"/>
    <a:srgbClr val="F1F9FA"/>
    <a:srgbClr val="EAEAEA"/>
    <a:srgbClr val="F8F8F8"/>
    <a:srgbClr val="A6A6A6"/>
    <a:srgbClr val="E4003A"/>
    <a:srgbClr val="FFFFD5"/>
    <a:srgbClr val="FFFFB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99" autoAdjust="0"/>
    <p:restoredTop sz="94643" autoAdjust="0"/>
  </p:normalViewPr>
  <p:slideViewPr>
    <p:cSldViewPr>
      <p:cViewPr varScale="1">
        <p:scale>
          <a:sx n="104" d="100"/>
          <a:sy n="104" d="100"/>
        </p:scale>
        <p:origin x="1026" y="102"/>
      </p:cViewPr>
      <p:guideLst>
        <p:guide orient="horz" pos="165"/>
        <p:guide orient="horz" pos="822"/>
        <p:guide orient="horz" pos="959"/>
        <p:guide orient="horz" pos="278"/>
        <p:guide orient="horz" pos="2387"/>
        <p:guide pos="320"/>
        <p:guide orient="horz" pos="3839"/>
        <p:guide orient="horz" pos="3998"/>
        <p:guide orient="horz" pos="4179"/>
        <p:guide pos="7364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4" d="100"/>
        <a:sy n="144" d="100"/>
      </p:scale>
      <p:origin x="0" y="18859"/>
    </p:cViewPr>
  </p:sorterViewPr>
  <p:notesViewPr>
    <p:cSldViewPr>
      <p:cViewPr varScale="1">
        <p:scale>
          <a:sx n="98" d="100"/>
          <a:sy n="98" d="100"/>
        </p:scale>
        <p:origin x="-3898" y="-77"/>
      </p:cViewPr>
      <p:guideLst>
        <p:guide orient="horz" pos="2880"/>
        <p:guide pos="2160"/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4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3.xml"/><Relationship Id="rId5" Type="http://schemas.openxmlformats.org/officeDocument/2006/relationships/customXml" Target="../customXml/item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4D9B6F-F621-4A62-84F4-5FFAE9A4C545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46A6A2-50A7-4640-855D-8956E55ABAC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20660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789E00-45B7-44B8-8E59-84DE0BD71A0D}" type="datetimeFigureOut">
              <a:rPr lang="de-DE" smtClean="0"/>
              <a:t>18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7F3CE7-ED39-4DCA-B997-3091546AA5B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1432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6:notes"/>
          <p:cNvSpPr txBox="1">
            <a:spLocks noGrp="1"/>
          </p:cNvSpPr>
          <p:nvPr>
            <p:ph type="body" idx="1"/>
          </p:nvPr>
        </p:nvSpPr>
        <p:spPr>
          <a:xfrm>
            <a:off x="728323" y="4963320"/>
            <a:ext cx="5826579" cy="4702092"/>
          </a:xfrm>
          <a:prstGeom prst="rect">
            <a:avLst/>
          </a:prstGeom>
        </p:spPr>
        <p:txBody>
          <a:bodyPr spcFirstLastPara="1" wrap="square" lIns="101335" tIns="50654" rIns="101335" bIns="50654" anchor="t" anchorCtr="0">
            <a:noAutofit/>
          </a:bodyPr>
          <a:lstStyle/>
          <a:p>
            <a:endParaRPr dirty="0"/>
          </a:p>
        </p:txBody>
      </p:sp>
      <p:sp>
        <p:nvSpPr>
          <p:cNvPr id="954" name="Google Shape;95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61925" y="784225"/>
            <a:ext cx="6959600" cy="39163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832337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6:notes"/>
          <p:cNvSpPr txBox="1">
            <a:spLocks noGrp="1"/>
          </p:cNvSpPr>
          <p:nvPr>
            <p:ph type="body" idx="1"/>
          </p:nvPr>
        </p:nvSpPr>
        <p:spPr>
          <a:xfrm>
            <a:off x="728323" y="4963320"/>
            <a:ext cx="5826579" cy="4702092"/>
          </a:xfrm>
          <a:prstGeom prst="rect">
            <a:avLst/>
          </a:prstGeom>
        </p:spPr>
        <p:txBody>
          <a:bodyPr spcFirstLastPara="1" wrap="square" lIns="101335" tIns="50654" rIns="101335" bIns="50654" anchor="t" anchorCtr="0">
            <a:noAutofit/>
          </a:bodyPr>
          <a:lstStyle/>
          <a:p>
            <a:endParaRPr dirty="0"/>
          </a:p>
        </p:txBody>
      </p:sp>
      <p:sp>
        <p:nvSpPr>
          <p:cNvPr id="954" name="Google Shape;95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61925" y="784225"/>
            <a:ext cx="6959600" cy="39163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966833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6:notes"/>
          <p:cNvSpPr txBox="1">
            <a:spLocks noGrp="1"/>
          </p:cNvSpPr>
          <p:nvPr>
            <p:ph type="body" idx="1"/>
          </p:nvPr>
        </p:nvSpPr>
        <p:spPr>
          <a:xfrm>
            <a:off x="728323" y="4963320"/>
            <a:ext cx="5826579" cy="4702092"/>
          </a:xfrm>
          <a:prstGeom prst="rect">
            <a:avLst/>
          </a:prstGeom>
        </p:spPr>
        <p:txBody>
          <a:bodyPr spcFirstLastPara="1" wrap="square" lIns="101335" tIns="50654" rIns="101335" bIns="50654" anchor="t" anchorCtr="0">
            <a:noAutofit/>
          </a:bodyPr>
          <a:lstStyle/>
          <a:p>
            <a:endParaRPr dirty="0"/>
          </a:p>
        </p:txBody>
      </p:sp>
      <p:sp>
        <p:nvSpPr>
          <p:cNvPr id="954" name="Google Shape;95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61925" y="784225"/>
            <a:ext cx="6959600" cy="39163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120589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6:notes"/>
          <p:cNvSpPr txBox="1">
            <a:spLocks noGrp="1"/>
          </p:cNvSpPr>
          <p:nvPr>
            <p:ph type="body" idx="1"/>
          </p:nvPr>
        </p:nvSpPr>
        <p:spPr>
          <a:xfrm>
            <a:off x="728323" y="4963320"/>
            <a:ext cx="5826579" cy="4702092"/>
          </a:xfrm>
          <a:prstGeom prst="rect">
            <a:avLst/>
          </a:prstGeom>
        </p:spPr>
        <p:txBody>
          <a:bodyPr spcFirstLastPara="1" wrap="square" lIns="101335" tIns="50654" rIns="101335" bIns="50654" anchor="t" anchorCtr="0">
            <a:noAutofit/>
          </a:bodyPr>
          <a:lstStyle/>
          <a:p>
            <a:endParaRPr dirty="0"/>
          </a:p>
        </p:txBody>
      </p:sp>
      <p:sp>
        <p:nvSpPr>
          <p:cNvPr id="954" name="Google Shape;95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61925" y="784225"/>
            <a:ext cx="6959600" cy="39163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889297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16:notes"/>
          <p:cNvSpPr txBox="1">
            <a:spLocks noGrp="1"/>
          </p:cNvSpPr>
          <p:nvPr>
            <p:ph type="body" idx="1"/>
          </p:nvPr>
        </p:nvSpPr>
        <p:spPr>
          <a:xfrm>
            <a:off x="728323" y="4963320"/>
            <a:ext cx="5826579" cy="4702092"/>
          </a:xfrm>
          <a:prstGeom prst="rect">
            <a:avLst/>
          </a:prstGeom>
        </p:spPr>
        <p:txBody>
          <a:bodyPr spcFirstLastPara="1" wrap="square" lIns="101335" tIns="50654" rIns="101335" bIns="50654" anchor="t" anchorCtr="0">
            <a:noAutofit/>
          </a:bodyPr>
          <a:lstStyle/>
          <a:p>
            <a:endParaRPr dirty="0"/>
          </a:p>
        </p:txBody>
      </p:sp>
      <p:sp>
        <p:nvSpPr>
          <p:cNvPr id="954" name="Google Shape;95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61925" y="784225"/>
            <a:ext cx="6959600" cy="39163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55219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Board Prä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-1" y="6929"/>
            <a:ext cx="6096266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5"/>
            <a:ext cx="4324349" cy="1528761"/>
          </a:xfrm>
          <a:prstGeom prst="rect">
            <a:avLst/>
          </a:prstGeom>
        </p:spPr>
        <p:txBody>
          <a:bodyPr tIns="108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400" b="0" kern="1200" cap="none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/>
          </p:nvPr>
        </p:nvSpPr>
        <p:spPr>
          <a:xfrm>
            <a:off x="6362701" y="515938"/>
            <a:ext cx="5324474" cy="583565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DE" noProof="0"/>
              <a:t>Tabelle durch Klicken auf Symbol hinzufügen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5498"/>
            <a:ext cx="5588265" cy="3024336"/>
          </a:xfrm>
        </p:spPr>
        <p:txBody>
          <a:bodyPr/>
          <a:lstStyle>
            <a:lvl1pPr>
              <a:defRPr lang="en-GB" sz="4400" b="1" kern="1200" cap="none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302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Za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2552701"/>
            <a:ext cx="5600699" cy="332536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0701" y="2552700"/>
            <a:ext cx="5921050" cy="3297004"/>
          </a:xfrm>
        </p:spPr>
        <p:txBody>
          <a:bodyPr lIns="360000" tIns="216000" rIns="0" anchor="t"/>
          <a:lstStyle>
            <a:lvl1pPr>
              <a:defRPr lang="de-DE" sz="200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00</a:t>
            </a:r>
            <a:br>
              <a:rPr lang="de-DE" noProof="0" dirty="0"/>
            </a:br>
            <a:endParaRPr lang="de-DE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481261"/>
          </a:xfrm>
          <a:prstGeom prst="rect">
            <a:avLst/>
          </a:prstGeom>
        </p:spPr>
        <p:txBody>
          <a:bodyPr tIns="0" bIns="216000" anchor="b"/>
          <a:lstStyle>
            <a:lvl1pPr marL="0" algn="l" defTabSz="1219170" rtl="0" eaLnBrk="1" latinLnBrk="0" hangingPunct="1">
              <a:defRPr lang="de-DE" sz="4400" b="1" kern="1200" cap="none" baseline="0" dirty="0" smtClean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 mit Textlauf von unten nach oben</a:t>
            </a: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1" y="3560763"/>
            <a:ext cx="4826000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350ADF-D957-43A1-B3F2-63746684362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7BF858-EC41-4D52-9C5D-7F2DEA1700A4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D76F2F-DA5D-444B-AF80-ACA005B5425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29847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0413" cy="6859588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13" y="2552700"/>
            <a:ext cx="4567237" cy="3297004"/>
          </a:xfrm>
        </p:spPr>
        <p:txBody>
          <a:bodyPr lIns="144000" tIns="216000" rIns="0" anchor="t"/>
          <a:lstStyle>
            <a:lvl1pPr>
              <a:defRPr lang="de-DE" sz="200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00</a:t>
            </a:r>
            <a:br>
              <a:rPr lang="de-DE" noProof="0" dirty="0"/>
            </a:br>
            <a:endParaRPr lang="de-DE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8142288" cy="2538412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9170" rtl="0" eaLnBrk="1" latinLnBrk="0" hangingPunct="1">
              <a:defRPr lang="de-DE" sz="4400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2970451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0413" cy="6859588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dirty="0"/>
              <a:t>Textmasterformat bearbeiten</a:t>
            </a: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8142287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4400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42978"/>
            <a:ext cx="5588000" cy="2551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100">
                <a:solidFill>
                  <a:schemeClr val="bg1"/>
                </a:solidFill>
              </a:defRPr>
            </a:lvl6pPr>
            <a:lvl7pPr>
              <a:defRPr sz="1100"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22140305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00" y="1522413"/>
            <a:ext cx="11179175" cy="457167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400">
                <a:solidFill>
                  <a:schemeClr val="tx1"/>
                </a:solidFill>
              </a:defRPr>
            </a:lvl7pPr>
            <a:lvl8pPr>
              <a:defRPr sz="12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0139985" cy="664632"/>
          </a:xfrm>
          <a:solidFill>
            <a:srgbClr val="F8F4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59201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239BBA8-66BA-448F-BEE8-82D7973C516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15CE0B6-1321-415B-A439-77AF231D1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039E3C-DD5F-4BAD-98F0-ADE35E3C274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3C87A0-3738-4FF5-80F0-235C6D349E0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23211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mit kleiner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0139985" cy="664632"/>
          </a:xfrm>
          <a:solidFill>
            <a:srgbClr val="F8F4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00" y="1522413"/>
            <a:ext cx="11179175" cy="457167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2A6A2E8-372C-4E43-82B9-08FE1130390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A2DBB80-5060-4CFF-AF13-B5C215B3D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7EC8B82-5786-469B-814F-C91EADF897E6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730756E-F76D-4AB5-BCF3-0FACC74F6B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88375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 und 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10139985" cy="66463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Textmasterformat bearbeiten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9BE267-99DD-49E4-A6A1-BE32DB4AF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CFDF31C-1113-449D-A048-12184353672C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CAE917-A544-4EDD-8FF8-CCB4A82B446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617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9"/>
            <a:ext cx="1530349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0" y="766800"/>
            <a:ext cx="4324349" cy="4604400"/>
          </a:xfrm>
        </p:spPr>
        <p:txBody>
          <a:bodyPr/>
          <a:lstStyle>
            <a:lvl1pPr>
              <a:defRPr lang="en-GB" sz="3600" b="1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70434D3-A318-425A-B509-571965B46E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B99669E-A128-4852-8E19-2DE4705400D8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959070B-37DB-4634-B129-A5A05836D35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43865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9"/>
            <a:ext cx="1530349" cy="5842775"/>
          </a:xfrm>
          <a:solidFill>
            <a:srgbClr val="E6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4832350" y="1273176"/>
            <a:ext cx="6600826" cy="4820914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8350"/>
            <a:ext cx="4324350" cy="4605661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1DE383B-D75C-4C93-8041-C379C213A3E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38A757-5A94-43AC-8131-26574A279B7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A7E6BE-4E57-443C-AE5C-F1246618DE7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51057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2spaltig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9"/>
            <a:ext cx="1530349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4834021" y="1273176"/>
            <a:ext cx="3300329" cy="4820914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8388349" y="1273176"/>
            <a:ext cx="3301200" cy="4820914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8348"/>
            <a:ext cx="4324350" cy="4604400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322EDD2-EA4A-460A-9FB4-2E698E0E50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7EBF5E-6347-4549-B73A-D2C026822E21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AD2322-B38C-4ACA-ADC7-DBFDB39809A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47355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0139985" cy="664632"/>
          </a:xfrm>
          <a:solidFill>
            <a:srgbClr val="FB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8000" y="1522413"/>
            <a:ext cx="5403324" cy="4571677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282000" y="1522413"/>
            <a:ext cx="5403600" cy="4571677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9D5F851-3751-47F3-A82B-D2F55BFB35D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ED4AB3A-F6AA-4845-8219-4380C6CCB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B433DA-14B5-4763-BD0A-36C884E637B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6C9DCC-4841-48A4-B272-BED6B4A2B67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45746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Board Präsentatio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-1" y="6929"/>
            <a:ext cx="5082689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5082688" y="1"/>
            <a:ext cx="7107724" cy="5349875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5498"/>
            <a:ext cx="8142288" cy="2088232"/>
          </a:xfrm>
        </p:spPr>
        <p:txBody>
          <a:bodyPr/>
          <a:lstStyle>
            <a:lvl1pPr>
              <a:defRPr lang="en-GB" sz="4400" b="1" kern="1200" cap="none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2997746"/>
            <a:ext cx="4324349" cy="1528762"/>
          </a:xfrm>
          <a:prstGeom prst="rect">
            <a:avLst/>
          </a:prstGeom>
        </p:spPr>
        <p:txBody>
          <a:bodyPr tIns="108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400" b="0" kern="1200" cap="none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0400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2552700"/>
            <a:ext cx="5848349" cy="3297003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dirty="0"/>
              <a:t>Textmaster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0" y="981523"/>
            <a:ext cx="4574689" cy="2536825"/>
          </a:xfrm>
        </p:spPr>
        <p:txBody>
          <a:bodyPr tIns="0" bIns="180000" anchor="b"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 mit </a:t>
            </a:r>
            <a:r>
              <a:rPr lang="de-DE" noProof="0" dirty="0" err="1"/>
              <a:t>Textlauf</a:t>
            </a:r>
            <a:r>
              <a:rPr lang="de-DE" noProof="0" dirty="0"/>
              <a:t> von unten nach ob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3821114"/>
            <a:ext cx="4574688" cy="227943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2" y="1030288"/>
            <a:ext cx="5425749" cy="4819650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8563317-EC53-4DDB-BC1D-C64142E1B01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9B89FC5-1446-44AC-91EC-1282F39D2DC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8E9C2D-6D9B-467E-8ADE-0987092964E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0695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 hasCustomPrompt="1"/>
          </p:nvPr>
        </p:nvSpPr>
        <p:spPr>
          <a:xfrm>
            <a:off x="0" y="2552700"/>
            <a:ext cx="5848349" cy="3297003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dirty="0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Optionale Zeile zur Anzeige des Kapitel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0" y="981523"/>
            <a:ext cx="4574689" cy="2536825"/>
          </a:xfrm>
        </p:spPr>
        <p:txBody>
          <a:bodyPr tIns="0" bIns="180000" anchor="b"/>
          <a:lstStyle>
            <a:lvl1pPr>
              <a:defRPr sz="3600" baseline="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 mit </a:t>
            </a:r>
            <a:r>
              <a:rPr lang="de-DE" noProof="0" dirty="0" err="1"/>
              <a:t>Textlauf</a:t>
            </a:r>
            <a:r>
              <a:rPr lang="de-DE" noProof="0" dirty="0"/>
              <a:t> von unten nach ob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3821114"/>
            <a:ext cx="4574688" cy="2272976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8350" y="1030290"/>
            <a:ext cx="5673400" cy="5063800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680B9FF-3241-4463-A371-ABE88473E7D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BDB9FD8-357C-472F-BC6C-77F44CF8B8BC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D69516C-1265-417B-9C12-346C9621966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1387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9"/>
            <a:ext cx="1530349" cy="584277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5499"/>
            <a:ext cx="6959449" cy="2304255"/>
          </a:xfrm>
        </p:spPr>
        <p:txBody>
          <a:bodyPr/>
          <a:lstStyle>
            <a:lvl1pPr>
              <a:defRPr lang="en-GB" sz="3600" b="1" kern="1200" cap="none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021080"/>
            <a:ext cx="6094412" cy="583850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3"/>
            <a:ext cx="5587205" cy="2288941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2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1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0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CEBBA8-959C-487B-A029-40024E9FF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79A60C9-EA95-4404-BF1D-0A40848CED4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9E7229-3084-4FAC-B7A1-3D5E9E5DAD7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4066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0139985" cy="664632"/>
          </a:xfrm>
          <a:solidFill>
            <a:srgbClr val="F1F9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01" y="1522413"/>
            <a:ext cx="3560762" cy="457167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000" y="1522413"/>
            <a:ext cx="3560400" cy="457167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6000" y="1522413"/>
            <a:ext cx="3560400" cy="457167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60352"/>
            <a:ext cx="5421518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0A13352-A4CC-48DE-8FEA-EE57510BDC8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A08DA2D-3789-429B-BB42-7D4AFDBE11D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855BEA2-AF5B-44C0-A611-5FF4725477A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95372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er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0" y="1"/>
            <a:ext cx="10139985" cy="66463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00" y="4581173"/>
            <a:ext cx="3560400" cy="15129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000" y="4581173"/>
            <a:ext cx="3560400" cy="15129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6112" y="4581173"/>
            <a:ext cx="3560400" cy="15129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600" y="1522413"/>
            <a:ext cx="3560400" cy="27985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20000" y="1522413"/>
            <a:ext cx="3560400" cy="27985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36112" y="1522413"/>
            <a:ext cx="3560400" cy="27985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260352"/>
            <a:ext cx="5421518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44F2D62-DFCB-482D-B44D-5D750A279067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12F4DE5-9FE5-4A5A-B3B8-C90453BD035B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365888-0CF7-495A-B9E7-F25CBE16795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97961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 Bild und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0139985" cy="66463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599" y="4089068"/>
            <a:ext cx="3560400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000" y="4089068"/>
            <a:ext cx="3560400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6112" y="4089068"/>
            <a:ext cx="3560400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599" y="1540014"/>
            <a:ext cx="3560400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20000" y="1540014"/>
            <a:ext cx="3560400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36112" y="1540014"/>
            <a:ext cx="3560400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260352"/>
            <a:ext cx="5421518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F9F5823-B127-4948-AF8D-69E6CD4C2D4C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9BB7EE-EDF5-4763-9AA7-42C6F14B7CA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73666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 Bild und Inhalt 4-spaltig Typ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0139985" cy="66463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00" y="3830775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000" y="1522413"/>
            <a:ext cx="2545200" cy="206299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10" y="3830775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600" y="1522413"/>
            <a:ext cx="2545200" cy="1806596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000" y="3831139"/>
            <a:ext cx="2545200" cy="178899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10" y="1522413"/>
            <a:ext cx="2545200" cy="1806596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2000" y="1522413"/>
            <a:ext cx="2545200" cy="206299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2000" y="3831139"/>
            <a:ext cx="2545200" cy="178899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260352"/>
            <a:ext cx="5421518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AB75215-2D2A-45A7-9CD3-EA92508CDAB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CA402-3AFB-40C9-9714-0C8CB7AA12CC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417063E-2641-4B2E-95AB-B2BE661713E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48308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 Bild und Inhalt 4-spaltig Typ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0139985" cy="66463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00" y="3830401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000" y="3830401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11" y="3830401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600" y="1522413"/>
            <a:ext cx="2545200" cy="1807385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000" y="1522413"/>
            <a:ext cx="2545200" cy="1807385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11" y="1522413"/>
            <a:ext cx="2545200" cy="1807385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2000" y="3830401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2000" y="1522413"/>
            <a:ext cx="2545200" cy="1807385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00" y="260352"/>
            <a:ext cx="5421518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7D67608-485D-4A52-8CAA-3469C4BC748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B2157A-2FF5-4B62-A612-A71156566509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F67C3D7-EE96-4B6A-840F-56035E6FBE19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85037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09050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8812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7120422" y="6929"/>
            <a:ext cx="4566753" cy="4839244"/>
          </a:xfrm>
          <a:solidFill>
            <a:srgbClr val="EFE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7120419" cy="635203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67448" y="3308350"/>
            <a:ext cx="3965727" cy="1561604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34000" y="765498"/>
            <a:ext cx="6099175" cy="2520280"/>
          </a:xfrm>
        </p:spPr>
        <p:txBody>
          <a:bodyPr/>
          <a:lstStyle>
            <a:lvl1pPr>
              <a:defRPr sz="4400">
                <a:solidFill>
                  <a:srgbClr val="007D8C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1690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mall Typo">
  <p:cSld name="Small Typo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6" descr="Spalte links" title="Spalte links"/>
          <p:cNvSpPr txBox="1">
            <a:spLocks noGrp="1"/>
          </p:cNvSpPr>
          <p:nvPr>
            <p:ph type="body" idx="1"/>
          </p:nvPr>
        </p:nvSpPr>
        <p:spPr>
          <a:xfrm>
            <a:off x="606819" y="1273176"/>
            <a:ext cx="11088295" cy="5097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l">
              <a:lnSpc>
                <a:spcPct val="137142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317405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189" lvl="2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>
                <a:solidFill>
                  <a:schemeClr val="dk1"/>
                </a:solidFill>
              </a:defRPr>
            </a:lvl3pPr>
            <a:lvl4pPr marL="1828251" lvl="3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200"/>
              <a:buAutoNum type="arabicPeriod"/>
              <a:defRPr sz="1200">
                <a:solidFill>
                  <a:schemeClr val="dk1"/>
                </a:solidFill>
              </a:defRPr>
            </a:lvl4pPr>
            <a:lvl5pPr marL="2285314" lvl="4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solidFill>
                  <a:schemeClr val="dk1"/>
                </a:solidFill>
              </a:defRPr>
            </a:lvl5pPr>
            <a:lvl6pPr marL="2742377" lvl="5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>
                <a:solidFill>
                  <a:schemeClr val="dk1"/>
                </a:solidFill>
              </a:defRPr>
            </a:lvl6pPr>
            <a:lvl7pPr marL="3199440" lvl="6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marL="3656502" lvl="7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marL="4113566" lvl="8" indent="-26662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600"/>
              <a:buAutoNum type="arabicParenR"/>
              <a:defRPr sz="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0" name="Google Shape;40;p26"/>
          <p:cNvSpPr txBox="1">
            <a:spLocks noGrp="1"/>
          </p:cNvSpPr>
          <p:nvPr>
            <p:ph type="body" idx="2"/>
          </p:nvPr>
        </p:nvSpPr>
        <p:spPr>
          <a:xfrm>
            <a:off x="4" y="1"/>
            <a:ext cx="8649691" cy="768350"/>
          </a:xfrm>
          <a:prstGeom prst="rect">
            <a:avLst/>
          </a:prstGeom>
          <a:solidFill>
            <a:srgbClr val="F1F9FA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063" lvl="0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"/>
              <a:buNone/>
              <a:defRPr sz="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342797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189" lvl="2" indent="-342797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1828251" lvl="3" indent="-342797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AutoNum type="arabicPeriod"/>
              <a:defRPr/>
            </a:lvl4pPr>
            <a:lvl5pPr marL="2285314" lvl="4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2377" lvl="5" indent="-342797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6pPr>
            <a:lvl7pPr marL="3199440" lvl="6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6502" lvl="7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3566" lvl="8" indent="-342797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800"/>
              <a:buAutoNum type="arabicParenR"/>
              <a:defRPr/>
            </a:lvl9pPr>
          </a:lstStyle>
          <a:p>
            <a:endParaRPr/>
          </a:p>
        </p:txBody>
      </p:sp>
      <p:sp>
        <p:nvSpPr>
          <p:cNvPr id="41" name="Google Shape;41;p26"/>
          <p:cNvSpPr txBox="1">
            <a:spLocks noGrp="1"/>
          </p:cNvSpPr>
          <p:nvPr>
            <p:ph type="title"/>
          </p:nvPr>
        </p:nvSpPr>
        <p:spPr>
          <a:xfrm>
            <a:off x="606819" y="515937"/>
            <a:ext cx="10574079" cy="514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5975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3781"/>
              </a:buClr>
              <a:buSzPts val="3000"/>
              <a:buFont typeface="Arial"/>
              <a:buNone/>
              <a:defRPr sz="2999">
                <a:solidFill>
                  <a:srgbClr val="00378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6"/>
          <p:cNvSpPr txBox="1">
            <a:spLocks noGrp="1"/>
          </p:cNvSpPr>
          <p:nvPr>
            <p:ph type="ftr" idx="11"/>
          </p:nvPr>
        </p:nvSpPr>
        <p:spPr>
          <a:xfrm>
            <a:off x="606819" y="6369050"/>
            <a:ext cx="5607115" cy="125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/>
              <a:t>FirmenOnline | Sponsoren Board | 29.03.2021</a:t>
            </a:r>
            <a:endParaRPr/>
          </a:p>
        </p:txBody>
      </p:sp>
      <p:sp>
        <p:nvSpPr>
          <p:cNvPr id="43" name="Google Shape;43;p26"/>
          <p:cNvSpPr txBox="1">
            <a:spLocks noGrp="1"/>
          </p:cNvSpPr>
          <p:nvPr>
            <p:ph type="body" idx="3"/>
          </p:nvPr>
        </p:nvSpPr>
        <p:spPr>
          <a:xfrm>
            <a:off x="606820" y="201357"/>
            <a:ext cx="5580063" cy="155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latin typeface="Arial"/>
                <a:ea typeface="Arial"/>
                <a:cs typeface="Arial"/>
                <a:sym typeface="Arial"/>
              </a:defRPr>
            </a:lvl1pPr>
            <a:lvl2pPr marL="914126" lvl="1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189" lvl="2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/>
            </a:lvl3pPr>
            <a:lvl4pPr marL="1828251" lvl="3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200"/>
              <a:buAutoNum type="arabicPeriod"/>
              <a:defRPr sz="1200"/>
            </a:lvl4pPr>
            <a:lvl5pPr marL="2285314" lvl="4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marL="2742377" lvl="5" indent="-342797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6pPr>
            <a:lvl7pPr marL="3199440" lvl="6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6502" lvl="7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3566" lvl="8" indent="-342797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800"/>
              <a:buAutoNum type="arabicParenR"/>
              <a:defRPr/>
            </a:lvl9pPr>
          </a:lstStyle>
          <a:p>
            <a:endParaRPr/>
          </a:p>
        </p:txBody>
      </p:sp>
      <p:sp>
        <p:nvSpPr>
          <p:cNvPr id="44" name="Google Shape;44;p26"/>
          <p:cNvSpPr txBox="1">
            <a:spLocks noGrp="1"/>
          </p:cNvSpPr>
          <p:nvPr>
            <p:ph type="dt" idx="10"/>
          </p:nvPr>
        </p:nvSpPr>
        <p:spPr>
          <a:xfrm>
            <a:off x="606818" y="6494403"/>
            <a:ext cx="1306854" cy="1231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5" name="Google Shape;45;p26"/>
          <p:cNvSpPr/>
          <p:nvPr/>
        </p:nvSpPr>
        <p:spPr>
          <a:xfrm>
            <a:off x="11386303" y="260709"/>
            <a:ext cx="308874" cy="309978"/>
          </a:xfrm>
          <a:custGeom>
            <a:avLst/>
            <a:gdLst/>
            <a:ahLst/>
            <a:cxnLst/>
            <a:rect l="l" t="t" r="r" b="b"/>
            <a:pathLst>
              <a:path w="396" h="397" extrusionOk="0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spcFirstLastPara="1" wrap="square" lIns="121806" tIns="60878" rIns="121806" bIns="6087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rgbClr val="00378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46;p26"/>
          <p:cNvSpPr txBox="1">
            <a:spLocks noGrp="1"/>
          </p:cNvSpPr>
          <p:nvPr>
            <p:ph type="sldNum" idx="12"/>
          </p:nvPr>
        </p:nvSpPr>
        <p:spPr>
          <a:xfrm>
            <a:off x="11180900" y="6493949"/>
            <a:ext cx="514281" cy="365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32410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2"/>
          <p:cNvSpPr>
            <a:spLocks noChangeArrowheads="1"/>
          </p:cNvSpPr>
          <p:nvPr userDrawn="1"/>
        </p:nvSpPr>
        <p:spPr bwMode="auto">
          <a:xfrm>
            <a:off x="220894" y="239713"/>
            <a:ext cx="11775921" cy="574019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wrap="none" lIns="121944" tIns="60972" rIns="121944" bIns="60972" anchor="ctr"/>
          <a:lstStyle/>
          <a:p>
            <a:endParaRPr lang="de-DE" noProof="0" dirty="0">
              <a:solidFill>
                <a:srgbClr val="414141"/>
              </a:solidFill>
            </a:endParaRPr>
          </a:p>
        </p:txBody>
      </p:sp>
      <p:sp>
        <p:nvSpPr>
          <p:cNvPr id="7" name="Eine Ecke des Rechtecks schneiden 6"/>
          <p:cNvSpPr/>
          <p:nvPr userDrawn="1"/>
        </p:nvSpPr>
        <p:spPr bwMode="auto">
          <a:xfrm rot="5400000">
            <a:off x="659519" y="657819"/>
            <a:ext cx="3532982" cy="3577835"/>
          </a:xfrm>
          <a:prstGeom prst="snip1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240048" tIns="96019" rIns="96019" bIns="24004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1900" noProof="0" dirty="0">
              <a:solidFill>
                <a:schemeClr val="bg1"/>
              </a:solidFill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37095" y="680244"/>
            <a:ext cx="3577835" cy="19689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98000" tIns="108000" rIns="198000" bIns="108000"/>
          <a:lstStyle>
            <a:lvl1pPr defTabSz="1219444" eaLnBrk="1" hangingPunct="1">
              <a:buFont typeface="Wingdings" pitchFamily="2" charset="2"/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altLang="en-US" noProof="0"/>
              <a:t>Titelmasterformat durch Klicken bearbeiten</a:t>
            </a:r>
            <a:endParaRPr lang="de-DE" altLang="en-US" noProof="0" dirty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37093" y="3302803"/>
            <a:ext cx="3354229" cy="73866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6350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198000" tIns="0" rIns="198000" bIns="0" anchor="b">
            <a:spAutoFit/>
          </a:bodyPr>
          <a:lstStyle>
            <a:lvl1pPr eaLnBrk="1" hangingPunct="1">
              <a:spcAft>
                <a:spcPct val="0"/>
              </a:spcAft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altLang="en-US" noProof="0"/>
              <a:t>Formatvorlage des Untertitelmasters durch Klicken bearbeiten</a:t>
            </a:r>
            <a:endParaRPr lang="de-DE" altLang="en-US" noProof="0" dirty="0"/>
          </a:p>
        </p:txBody>
      </p:sp>
      <p:pic>
        <p:nvPicPr>
          <p:cNvPr id="12" name="Bild 8" descr="AZ_Logo_RGB.ai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4365" y="5538790"/>
            <a:ext cx="1960023" cy="87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mit Bild">
    <p:bg>
      <p:bgPr>
        <a:solidFill>
          <a:srgbClr val="D2D2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3"/>
            <a:ext cx="12190413" cy="5979911"/>
          </a:xfrm>
          <a:prstGeom prst="rect">
            <a:avLst/>
          </a:prstGeom>
          <a:noFill/>
          <a:ln>
            <a:noFill/>
          </a:ln>
        </p:spPr>
        <p:txBody>
          <a:bodyPr anchor="b"/>
          <a:lstStyle>
            <a:lvl1pPr marL="0" marR="0" indent="0" algn="ctr" defTabSz="1219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>
                <a:tab pos="260403" algn="l"/>
              </a:tabLst>
              <a:defRPr sz="2700" baseline="0">
                <a:solidFill>
                  <a:schemeClr val="accent1"/>
                </a:solidFill>
              </a:defRPr>
            </a:lvl1pPr>
          </a:lstStyle>
          <a:p>
            <a:r>
              <a:rPr lang="de-DE" sz="1300" b="1" noProof="0" dirty="0">
                <a:solidFill>
                  <a:schemeClr val="accent1"/>
                </a:solidFill>
              </a:rPr>
              <a:t>(Hintergrundbild)</a:t>
            </a:r>
          </a:p>
        </p:txBody>
      </p:sp>
      <p:cxnSp>
        <p:nvCxnSpPr>
          <p:cNvPr id="19" name="Gerade Verbindung mit Pfeil 18"/>
          <p:cNvCxnSpPr/>
          <p:nvPr userDrawn="1"/>
        </p:nvCxnSpPr>
        <p:spPr bwMode="auto">
          <a:xfrm flipV="1">
            <a:off x="6085048" y="3212041"/>
            <a:ext cx="0" cy="1332171"/>
          </a:xfrm>
          <a:prstGeom prst="straightConnector1">
            <a:avLst/>
          </a:prstGeom>
          <a:solidFill>
            <a:schemeClr val="bg1"/>
          </a:solidFill>
          <a:ln w="762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3" name="Gerade Verbindung mit Pfeil 22"/>
          <p:cNvCxnSpPr/>
          <p:nvPr userDrawn="1"/>
        </p:nvCxnSpPr>
        <p:spPr bwMode="auto">
          <a:xfrm flipH="1">
            <a:off x="6314890" y="3026347"/>
            <a:ext cx="1803166" cy="0"/>
          </a:xfrm>
          <a:prstGeom prst="straightConnector1">
            <a:avLst/>
          </a:prstGeom>
          <a:solidFill>
            <a:schemeClr val="bg1"/>
          </a:solidFill>
          <a:ln w="762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7" name="Gerade Verbindung mit Pfeil 26"/>
          <p:cNvCxnSpPr/>
          <p:nvPr userDrawn="1"/>
        </p:nvCxnSpPr>
        <p:spPr bwMode="auto">
          <a:xfrm>
            <a:off x="6085048" y="1475852"/>
            <a:ext cx="0" cy="1375193"/>
          </a:xfrm>
          <a:prstGeom prst="straightConnector1">
            <a:avLst/>
          </a:prstGeom>
          <a:solidFill>
            <a:schemeClr val="bg1"/>
          </a:solidFill>
          <a:ln w="762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7" name="Bild 8" descr="AZ_Logo_RGB.ai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4365" y="5538790"/>
            <a:ext cx="1960023" cy="87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6838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 userDrawn="1"/>
        </p:nvSpPr>
        <p:spPr>
          <a:xfrm>
            <a:off x="525696" y="6485720"/>
            <a:ext cx="1625388" cy="246245"/>
          </a:xfrm>
          <a:prstGeom prst="rect">
            <a:avLst/>
          </a:prstGeom>
          <a:noFill/>
        </p:spPr>
        <p:txBody>
          <a:bodyPr wrap="square" lIns="121944" tIns="60972" rIns="121944" bIns="60972" rtlCol="0">
            <a:spAutoFit/>
          </a:bodyPr>
          <a:lstStyle/>
          <a:p>
            <a:pPr algn="l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opyright Allianz</a:t>
            </a:r>
            <a:endParaRPr lang="de-DE" sz="800" noProof="0" dirty="0">
              <a:solidFill>
                <a:schemeClr val="bg2"/>
              </a:solidFill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636951" y="1512002"/>
            <a:ext cx="11040947" cy="4641463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>
          <a:xfrm>
            <a:off x="1557861" y="6426417"/>
            <a:ext cx="1781579" cy="365210"/>
          </a:xfrm>
        </p:spPr>
        <p:txBody>
          <a:bodyPr/>
          <a:lstStyle/>
          <a:p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>
          <a:xfrm>
            <a:off x="10982813" y="6426417"/>
            <a:ext cx="723804" cy="365210"/>
          </a:xfrm>
        </p:spPr>
        <p:txBody>
          <a:bodyPr/>
          <a:lstStyle/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450448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feld 16"/>
          <p:cNvSpPr txBox="1"/>
          <p:nvPr userDrawn="1"/>
        </p:nvSpPr>
        <p:spPr>
          <a:xfrm>
            <a:off x="525696" y="6485720"/>
            <a:ext cx="1625388" cy="246245"/>
          </a:xfrm>
          <a:prstGeom prst="rect">
            <a:avLst/>
          </a:prstGeom>
          <a:noFill/>
        </p:spPr>
        <p:txBody>
          <a:bodyPr wrap="square" lIns="121944" tIns="60972" rIns="121944" bIns="60972" rtlCol="0">
            <a:spAutoFit/>
          </a:bodyPr>
          <a:lstStyle/>
          <a:p>
            <a:pPr algn="l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opyright Allianz</a:t>
            </a:r>
            <a:endParaRPr lang="de-DE" sz="800" noProof="0" dirty="0">
              <a:solidFill>
                <a:schemeClr val="bg2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>
          <a:xfrm>
            <a:off x="636951" y="1512002"/>
            <a:ext cx="5261483" cy="4641463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6108324" y="1512001"/>
            <a:ext cx="5261672" cy="4640193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8372500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pad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/>
          <p:cNvSpPr txBox="1"/>
          <p:nvPr userDrawn="1"/>
        </p:nvSpPr>
        <p:spPr>
          <a:xfrm>
            <a:off x="525696" y="6485720"/>
            <a:ext cx="1625388" cy="246245"/>
          </a:xfrm>
          <a:prstGeom prst="rect">
            <a:avLst/>
          </a:prstGeom>
          <a:noFill/>
        </p:spPr>
        <p:txBody>
          <a:bodyPr wrap="square" lIns="121944" tIns="60972" rIns="121944" bIns="60972" rtlCol="0">
            <a:spAutoFit/>
          </a:bodyPr>
          <a:lstStyle/>
          <a:p>
            <a:pPr algn="l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opyright Allianz</a:t>
            </a:r>
            <a:endParaRPr lang="de-DE" sz="800" noProof="0" dirty="0">
              <a:solidFill>
                <a:schemeClr val="bg2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984598" y="1437242"/>
            <a:ext cx="2639893" cy="3996789"/>
          </a:xfrm>
          <a:prstGeom prst="rect">
            <a:avLst/>
          </a:prstGeom>
        </p:spPr>
        <p:txBody>
          <a:bodyPr lIns="240048" tIns="240048" rIns="240048" bIns="240048">
            <a:noAutofit/>
          </a:bodyPr>
          <a:lstStyle>
            <a:lvl1pPr>
              <a:defRPr sz="3200" b="1" baseline="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 marL="4234" indent="0">
              <a:buNone/>
              <a:defRPr sz="1400">
                <a:solidFill>
                  <a:schemeClr val="bg1"/>
                </a:solidFill>
              </a:defRPr>
            </a:lvl3pPr>
            <a:lvl4pPr marL="0" indent="0"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None/>
              <a:tabLst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1</a:t>
            </a:r>
          </a:p>
          <a:p>
            <a:pPr lvl="1"/>
            <a:r>
              <a:rPr lang="de-DE" noProof="0" dirty="0"/>
              <a:t>E2</a:t>
            </a:r>
          </a:p>
          <a:p>
            <a:pPr lvl="2"/>
            <a:r>
              <a:rPr lang="de-DE" noProof="0" dirty="0"/>
              <a:t>E3</a:t>
            </a:r>
          </a:p>
          <a:p>
            <a:pPr lvl="3"/>
            <a:r>
              <a:rPr lang="de-DE" noProof="0" dirty="0"/>
              <a:t>E4</a:t>
            </a:r>
          </a:p>
          <a:p>
            <a:pPr lvl="4"/>
            <a:r>
              <a:rPr lang="de-DE" noProof="0" dirty="0"/>
              <a:t>E5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636951" y="1512002"/>
            <a:ext cx="7878882" cy="4641463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489241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,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525696" y="6485720"/>
            <a:ext cx="1625388" cy="246245"/>
          </a:xfrm>
          <a:prstGeom prst="rect">
            <a:avLst/>
          </a:prstGeom>
          <a:noFill/>
        </p:spPr>
        <p:txBody>
          <a:bodyPr wrap="square" lIns="121944" tIns="60972" rIns="121944" bIns="60972" rtlCol="0">
            <a:spAutoFit/>
          </a:bodyPr>
          <a:lstStyle/>
          <a:p>
            <a:pPr algn="l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opyright Allianz</a:t>
            </a:r>
            <a:endParaRPr lang="de-DE" sz="800" noProof="0" dirty="0">
              <a:solidFill>
                <a:schemeClr val="bg2"/>
              </a:solidFill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>
          <a:xfrm>
            <a:off x="641677" y="1566587"/>
            <a:ext cx="5256757" cy="4634188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txBody>
          <a:bodyPr wrap="none" anchor="ctr"/>
          <a:lstStyle>
            <a:lvl1pPr algn="ctr">
              <a:defRPr lang="de-DE" sz="1600" kern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 algn="ctr">
              <a:buClr>
                <a:schemeClr val="accent1"/>
              </a:buClr>
              <a:buFont typeface="Wingdings" pitchFamily="2" charset="2"/>
            </a:pPr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6106816" y="1512000"/>
            <a:ext cx="5523781" cy="464292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5999381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 userDrawn="1"/>
        </p:nvSpPr>
        <p:spPr>
          <a:xfrm>
            <a:off x="525696" y="6485720"/>
            <a:ext cx="1625388" cy="246245"/>
          </a:xfrm>
          <a:prstGeom prst="rect">
            <a:avLst/>
          </a:prstGeom>
          <a:noFill/>
        </p:spPr>
        <p:txBody>
          <a:bodyPr wrap="square" lIns="121944" tIns="60972" rIns="121944" bIns="60972" rtlCol="0">
            <a:spAutoFit/>
          </a:bodyPr>
          <a:lstStyle/>
          <a:p>
            <a:pPr algn="l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opyright Allianz</a:t>
            </a:r>
            <a:endParaRPr lang="de-DE" sz="800" noProof="0" dirty="0">
              <a:solidFill>
                <a:schemeClr val="bg2"/>
              </a:solidFill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>
          <a:xfrm>
            <a:off x="650246" y="1566589"/>
            <a:ext cx="5240570" cy="3751536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txBody>
          <a:bodyPr wrap="none" anchor="ctr"/>
          <a:lstStyle>
            <a:lvl1pPr algn="ctr">
              <a:defRPr lang="de-DE" sz="1600" kern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 algn="ctr">
              <a:buClr>
                <a:schemeClr val="accent1"/>
              </a:buClr>
              <a:buFont typeface="Wingdings" pitchFamily="2" charset="2"/>
            </a:pPr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5"/>
          </p:nvPr>
        </p:nvSpPr>
        <p:spPr>
          <a:xfrm>
            <a:off x="6111709" y="1566587"/>
            <a:ext cx="5258288" cy="3751538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txBody>
          <a:bodyPr wrap="none" anchor="ctr"/>
          <a:lstStyle>
            <a:lvl1pPr algn="ctr">
              <a:defRPr lang="de-DE" sz="1600" kern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 algn="ctr">
              <a:buClr>
                <a:schemeClr val="accent1"/>
              </a:buClr>
              <a:buFont typeface="Wingdings" pitchFamily="2" charset="2"/>
            </a:pPr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6"/>
          </p:nvPr>
        </p:nvSpPr>
        <p:spPr>
          <a:xfrm>
            <a:off x="636594" y="5476709"/>
            <a:ext cx="5235951" cy="66690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7"/>
          </p:nvPr>
        </p:nvSpPr>
        <p:spPr>
          <a:xfrm>
            <a:off x="6111708" y="5476704"/>
            <a:ext cx="5223254" cy="666586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136233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525696" y="6485720"/>
            <a:ext cx="1625388" cy="246245"/>
          </a:xfrm>
          <a:prstGeom prst="rect">
            <a:avLst/>
          </a:prstGeom>
          <a:noFill/>
        </p:spPr>
        <p:txBody>
          <a:bodyPr wrap="square" lIns="121944" tIns="60972" rIns="121944" bIns="60972" rtlCol="0">
            <a:spAutoFit/>
          </a:bodyPr>
          <a:lstStyle/>
          <a:p>
            <a:pPr algn="l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opyright Allianz</a:t>
            </a:r>
            <a:endParaRPr lang="de-DE" sz="800" noProof="0" dirty="0">
              <a:solidFill>
                <a:schemeClr val="bg2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636863" y="1112075"/>
            <a:ext cx="10950537" cy="432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>
          <a:xfrm>
            <a:off x="636597" y="1551349"/>
            <a:ext cx="10950803" cy="4718506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txBody>
          <a:bodyPr wrap="none" anchor="ctr"/>
          <a:lstStyle>
            <a:lvl1pPr algn="ctr">
              <a:defRPr lang="de-DE" sz="1600" kern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 algn="ctr">
              <a:buClr>
                <a:schemeClr val="accent1"/>
              </a:buClr>
              <a:buFont typeface="Wingdings" pitchFamily="2" charset="2"/>
            </a:pPr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163567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 userDrawn="1"/>
        </p:nvSpPr>
        <p:spPr>
          <a:xfrm>
            <a:off x="525696" y="6485720"/>
            <a:ext cx="1625388" cy="246245"/>
          </a:xfrm>
          <a:prstGeom prst="rect">
            <a:avLst/>
          </a:prstGeom>
          <a:noFill/>
        </p:spPr>
        <p:txBody>
          <a:bodyPr wrap="square" lIns="121944" tIns="60972" rIns="121944" bIns="60972" rtlCol="0">
            <a:spAutoFit/>
          </a:bodyPr>
          <a:lstStyle/>
          <a:p>
            <a:pPr algn="l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opyright Allianz</a:t>
            </a:r>
            <a:endParaRPr lang="de-DE" sz="800" noProof="0" dirty="0">
              <a:solidFill>
                <a:schemeClr val="bg2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 bwMode="auto">
          <a:xfrm flipH="1">
            <a:off x="640718" y="2435789"/>
            <a:ext cx="5257715" cy="3764834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txBody>
          <a:bodyPr wrap="none" lIns="121944" tIns="60972" rIns="121944" bIns="60972" anchor="ctr"/>
          <a:lstStyle/>
          <a:p>
            <a:pPr lvl="0"/>
            <a:endParaRPr lang="de-DE" noProof="0" dirty="0"/>
          </a:p>
        </p:txBody>
      </p:sp>
      <p:sp>
        <p:nvSpPr>
          <p:cNvPr id="16" name="Rechteck 15"/>
          <p:cNvSpPr/>
          <p:nvPr userDrawn="1"/>
        </p:nvSpPr>
        <p:spPr bwMode="auto">
          <a:xfrm flipH="1">
            <a:off x="6103248" y="2435789"/>
            <a:ext cx="5266748" cy="3764834"/>
          </a:xfrm>
          <a:prstGeom prst="rect">
            <a:avLst/>
          </a:prstGeom>
          <a:solidFill>
            <a:srgbClr val="EDEDED"/>
          </a:solidFill>
          <a:ln>
            <a:noFill/>
          </a:ln>
          <a:effectLst/>
        </p:spPr>
        <p:txBody>
          <a:bodyPr wrap="none" lIns="121944" tIns="60972" rIns="121944" bIns="60972" anchor="ctr"/>
          <a:lstStyle/>
          <a:p>
            <a:pPr lvl="0"/>
            <a:endParaRPr lang="de-DE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636339" y="1512000"/>
            <a:ext cx="10733657" cy="876628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4"/>
          </p:nvPr>
        </p:nvSpPr>
        <p:spPr>
          <a:xfrm>
            <a:off x="850569" y="2604886"/>
            <a:ext cx="4828877" cy="337502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23" name="Inhaltsplatzhalter 22"/>
          <p:cNvSpPr>
            <a:spLocks noGrp="1"/>
          </p:cNvSpPr>
          <p:nvPr>
            <p:ph sz="quarter" idx="15"/>
          </p:nvPr>
        </p:nvSpPr>
        <p:spPr>
          <a:xfrm>
            <a:off x="6315783" y="2670176"/>
            <a:ext cx="4841572" cy="3309732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112689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A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7120422" y="6929"/>
            <a:ext cx="4566753" cy="4839244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7120419" cy="635203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67448" y="3308350"/>
            <a:ext cx="3965727" cy="1561604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6351" y="765498"/>
            <a:ext cx="6346824" cy="2520280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1012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525696" y="6485720"/>
            <a:ext cx="1625388" cy="246245"/>
          </a:xfrm>
          <a:prstGeom prst="rect">
            <a:avLst/>
          </a:prstGeom>
          <a:noFill/>
        </p:spPr>
        <p:txBody>
          <a:bodyPr wrap="square" lIns="121944" tIns="60972" rIns="121944" bIns="60972" rtlCol="0">
            <a:spAutoFit/>
          </a:bodyPr>
          <a:lstStyle/>
          <a:p>
            <a:pPr algn="l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opyright Allianz</a:t>
            </a:r>
            <a:endParaRPr lang="de-DE" sz="800" noProof="0" dirty="0">
              <a:solidFill>
                <a:schemeClr val="bg2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6340" y="2546213"/>
            <a:ext cx="10951059" cy="372364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>
                <a:solidFill>
                  <a:srgbClr val="414141"/>
                </a:solidFill>
              </a:defRPr>
            </a:lvl2pPr>
            <a:lvl3pPr>
              <a:defRPr sz="1800">
                <a:solidFill>
                  <a:srgbClr val="414141"/>
                </a:solidFill>
              </a:defRPr>
            </a:lvl3pPr>
            <a:lvl4pPr>
              <a:defRPr sz="1600">
                <a:solidFill>
                  <a:srgbClr val="414141"/>
                </a:solidFill>
              </a:defRPr>
            </a:lvl4pPr>
            <a:lvl5pPr>
              <a:defRPr sz="1600">
                <a:solidFill>
                  <a:srgbClr val="414141"/>
                </a:solidFill>
              </a:defRPr>
            </a:lvl5pPr>
            <a:lvl6pPr marL="518688" marR="0" indent="0" algn="l" defTabSz="1219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000000"/>
              </a:buClr>
              <a:buSzTx/>
              <a:buFontTx/>
              <a:buNone/>
              <a:tabLst>
                <a:tab pos="260403" algn="l"/>
              </a:tabLst>
              <a:defRPr sz="1200">
                <a:solidFill>
                  <a:srgbClr val="414141"/>
                </a:solidFill>
              </a:defRPr>
            </a:lvl6pPr>
            <a:lvl7pPr marL="334500" marR="0" indent="0" algn="l" defTabSz="1219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000000"/>
              </a:buClr>
              <a:buSzTx/>
              <a:buFontTx/>
              <a:buNone/>
              <a:tabLst>
                <a:tab pos="260403" algn="l"/>
              </a:tabLst>
              <a:defRPr sz="1200">
                <a:solidFill>
                  <a:srgbClr val="414141"/>
                </a:solidFill>
              </a:defRPr>
            </a:lvl7pPr>
            <a:lvl8pPr marL="0" marR="0" indent="0" algn="l" defTabSz="1219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000000"/>
              </a:buClr>
              <a:buSzTx/>
              <a:buFontTx/>
              <a:buNone/>
              <a:tabLst>
                <a:tab pos="260403" algn="l"/>
              </a:tabLst>
              <a:defRPr sz="1200">
                <a:solidFill>
                  <a:srgbClr val="414141"/>
                </a:solidFill>
              </a:defRPr>
            </a:lvl8pPr>
            <a:lvl9pPr marL="91036" marR="0" indent="-91036" algn="l" defTabSz="1219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000000"/>
              </a:buClr>
              <a:buSzPct val="120000"/>
              <a:buFont typeface="Arial" pitchFamily="34" charset="0"/>
              <a:buChar char="›"/>
              <a:tabLst>
                <a:tab pos="260403" algn="l"/>
              </a:tabLst>
              <a:defRPr sz="800">
                <a:solidFill>
                  <a:srgbClr val="41414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3"/>
          </p:nvPr>
        </p:nvSpPr>
        <p:spPr>
          <a:xfrm>
            <a:off x="636862" y="1559162"/>
            <a:ext cx="10950537" cy="95653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094182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525696" y="6485720"/>
            <a:ext cx="1625388" cy="246245"/>
          </a:xfrm>
          <a:prstGeom prst="rect">
            <a:avLst/>
          </a:prstGeom>
          <a:noFill/>
        </p:spPr>
        <p:txBody>
          <a:bodyPr wrap="square" lIns="121944" tIns="60972" rIns="121944" bIns="60972" rtlCol="0">
            <a:spAutoFit/>
          </a:bodyPr>
          <a:lstStyle/>
          <a:p>
            <a:pPr algn="l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opyright Allianz</a:t>
            </a:r>
            <a:endParaRPr lang="de-DE" sz="800" noProof="0" dirty="0">
              <a:solidFill>
                <a:schemeClr val="bg2"/>
              </a:solidFill>
            </a:endParaRPr>
          </a:p>
        </p:txBody>
      </p:sp>
      <p:sp>
        <p:nvSpPr>
          <p:cNvPr id="15" name="Tabellenplatzhalter 14"/>
          <p:cNvSpPr>
            <a:spLocks noGrp="1"/>
          </p:cNvSpPr>
          <p:nvPr>
            <p:ph type="tbl" sz="quarter" idx="13"/>
          </p:nvPr>
        </p:nvSpPr>
        <p:spPr>
          <a:xfrm>
            <a:off x="640719" y="1572939"/>
            <a:ext cx="10946681" cy="3524524"/>
          </a:xfrm>
          <a:noFill/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de-DE" noProof="0"/>
              <a:t>Tabelle durch Klicken auf Symbol hinzufügen</a:t>
            </a:r>
            <a:endParaRPr lang="de-DE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1279815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525696" y="6485720"/>
            <a:ext cx="1625388" cy="246245"/>
          </a:xfrm>
          <a:prstGeom prst="rect">
            <a:avLst/>
          </a:prstGeom>
          <a:noFill/>
        </p:spPr>
        <p:txBody>
          <a:bodyPr wrap="square" lIns="121944" tIns="60972" rIns="121944" bIns="60972" rtlCol="0">
            <a:spAutoFit/>
          </a:bodyPr>
          <a:lstStyle/>
          <a:p>
            <a:pPr algn="l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opyright Allianz</a:t>
            </a:r>
            <a:endParaRPr lang="de-DE" sz="800" noProof="0" dirty="0">
              <a:solidFill>
                <a:schemeClr val="bg2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109941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MI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525696" y="6485720"/>
            <a:ext cx="1625388" cy="246245"/>
          </a:xfrm>
          <a:prstGeom prst="rect">
            <a:avLst/>
          </a:prstGeom>
          <a:noFill/>
        </p:spPr>
        <p:txBody>
          <a:bodyPr wrap="square" lIns="121944" tIns="60972" rIns="121944" bIns="60972" rtlCol="0">
            <a:spAutoFit/>
          </a:bodyPr>
          <a:lstStyle/>
          <a:p>
            <a:pPr algn="l"/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Copyright Allianz</a:t>
            </a:r>
            <a:endParaRPr lang="de-DE" sz="800" noProof="0" dirty="0">
              <a:solidFill>
                <a:schemeClr val="bg2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00853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Board Prä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6929"/>
            <a:ext cx="6096266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821115"/>
            <a:ext cx="4324349" cy="1528761"/>
          </a:xfrm>
          <a:prstGeom prst="rect">
            <a:avLst/>
          </a:prstGeom>
        </p:spPr>
        <p:txBody>
          <a:bodyPr tIns="108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400" b="0" kern="1200" cap="none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/>
          </p:nvPr>
        </p:nvSpPr>
        <p:spPr>
          <a:xfrm>
            <a:off x="6362701" y="515938"/>
            <a:ext cx="5324474" cy="5835650"/>
          </a:xfrm>
          <a:prstGeom prst="rect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DE" noProof="0"/>
              <a:t>Tabelle durch Klicken auf Symbol hinzufügen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5498"/>
            <a:ext cx="5588265" cy="3024336"/>
          </a:xfrm>
        </p:spPr>
        <p:txBody>
          <a:bodyPr/>
          <a:lstStyle>
            <a:lvl1pPr>
              <a:defRPr lang="en-GB" sz="4400" b="1" kern="1200" cap="none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3" name="Rechteck 2"/>
          <p:cNvSpPr/>
          <p:nvPr/>
        </p:nvSpPr>
        <p:spPr>
          <a:xfrm>
            <a:off x="291932" y="6373192"/>
            <a:ext cx="2420810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 dirty="0"/>
          </a:p>
        </p:txBody>
      </p:sp>
      <p:pic>
        <p:nvPicPr>
          <p:cNvPr id="10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7587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Board Präsentatio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-1" y="6929"/>
            <a:ext cx="5082689" cy="4574596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5082688" y="1"/>
            <a:ext cx="7107724" cy="5349875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5498"/>
            <a:ext cx="8142288" cy="2088232"/>
          </a:xfrm>
        </p:spPr>
        <p:txBody>
          <a:bodyPr/>
          <a:lstStyle>
            <a:lvl1pPr>
              <a:defRPr lang="en-GB" sz="4400" b="1" kern="1200" cap="none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2997746"/>
            <a:ext cx="4324349" cy="1528762"/>
          </a:xfrm>
          <a:prstGeom prst="rect">
            <a:avLst/>
          </a:prstGeom>
        </p:spPr>
        <p:txBody>
          <a:bodyPr tIns="108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400" b="0" kern="1200" cap="none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432298" y="6382122"/>
            <a:ext cx="1919630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noProof="0" dirty="0"/>
          </a:p>
        </p:txBody>
      </p:sp>
      <p:pic>
        <p:nvPicPr>
          <p:cNvPr id="10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7125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7120422" y="6929"/>
            <a:ext cx="4566753" cy="4839244"/>
          </a:xfrm>
          <a:solidFill>
            <a:srgbClr val="EFE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7120419" cy="635203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67448" y="3308350"/>
            <a:ext cx="3965727" cy="1561604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34000" y="765498"/>
            <a:ext cx="6099175" cy="2520280"/>
          </a:xfrm>
        </p:spPr>
        <p:txBody>
          <a:bodyPr/>
          <a:lstStyle>
            <a:lvl1pPr>
              <a:defRPr sz="4400">
                <a:solidFill>
                  <a:srgbClr val="007D8C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432298" y="6382122"/>
            <a:ext cx="1919630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noProof="0" dirty="0"/>
          </a:p>
        </p:txBody>
      </p:sp>
      <p:pic>
        <p:nvPicPr>
          <p:cNvPr id="10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1167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A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7120422" y="6929"/>
            <a:ext cx="4566753" cy="4839244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7120419" cy="635203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67448" y="3308350"/>
            <a:ext cx="3965727" cy="1561604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6351" y="765498"/>
            <a:ext cx="6346824" cy="2520280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432298" y="6382122"/>
            <a:ext cx="1919630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noProof="0" dirty="0"/>
          </a:p>
        </p:txBody>
      </p:sp>
      <p:pic>
        <p:nvPicPr>
          <p:cNvPr id="10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6996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-1" y="1"/>
            <a:ext cx="5082689" cy="636428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5082688" y="6929"/>
            <a:ext cx="4829661" cy="4573009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314700"/>
            <a:ext cx="4242473" cy="20593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5498"/>
            <a:ext cx="7975140" cy="2304256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7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0989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/>
          </p:nvPr>
        </p:nvSpPr>
        <p:spPr>
          <a:xfrm>
            <a:off x="-1" y="1"/>
            <a:ext cx="5082689" cy="6352029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5082688" y="6929"/>
            <a:ext cx="4829661" cy="4573009"/>
          </a:xfrm>
          <a:solidFill>
            <a:srgbClr val="CAD4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314700"/>
            <a:ext cx="4242473" cy="20593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5498"/>
            <a:ext cx="7975140" cy="2304256"/>
          </a:xfrm>
        </p:spPr>
        <p:txBody>
          <a:bodyPr/>
          <a:lstStyle>
            <a:lvl1pPr>
              <a:defRPr sz="4400">
                <a:solidFill>
                  <a:schemeClr val="accent5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7" name="Bild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2283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-1" y="1"/>
            <a:ext cx="5082689" cy="636428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5082688" y="6929"/>
            <a:ext cx="4829661" cy="4573009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314700"/>
            <a:ext cx="4242473" cy="20593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5498"/>
            <a:ext cx="7975140" cy="2304256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FB3C14F-FABF-4307-AE02-DE4512D9911E}"/>
              </a:ext>
            </a:extLst>
          </p:cNvPr>
          <p:cNvSpPr txBox="1"/>
          <p:nvPr/>
        </p:nvSpPr>
        <p:spPr>
          <a:xfrm>
            <a:off x="515640" y="6494402"/>
            <a:ext cx="46699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</a:t>
            </a:r>
            <a:endParaRPr lang="de-DE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42136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9"/>
            <a:ext cx="1530349" cy="5842775"/>
          </a:xfrm>
          <a:solidFill>
            <a:srgbClr val="D7D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32350" y="1030288"/>
            <a:ext cx="6600826" cy="4819416"/>
          </a:xfrm>
          <a:prstGeom prst="rect">
            <a:avLst/>
          </a:prstGeom>
        </p:spPr>
        <p:txBody>
          <a:bodyPr wrap="square" tIns="0"/>
          <a:lstStyle>
            <a:lvl1pPr marL="0" algn="l" defTabSz="1219170" rtl="0" eaLnBrk="1" latinLnBrk="0" hangingPunct="1">
              <a:spcAft>
                <a:spcPts val="4800"/>
              </a:spcAft>
              <a:defRPr lang="de-DE" sz="16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marL="0" marR="0" lvl="1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2</a:t>
            </a:r>
          </a:p>
          <a:p>
            <a:pPr marL="0" marR="0" lvl="2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3</a:t>
            </a:r>
          </a:p>
          <a:p>
            <a:pPr marL="0" marR="0" lvl="3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4</a:t>
            </a:r>
          </a:p>
          <a:p>
            <a:pPr marL="0" marR="0" lvl="4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5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1796" y="768350"/>
            <a:ext cx="4160554" cy="4389636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27C36CD-E7CA-4B6E-9B70-659F651F21A0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459157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Freistel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2552700"/>
            <a:ext cx="5600699" cy="3325366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848350" y="1530705"/>
            <a:ext cx="6342061" cy="483982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3"/>
            <a:ext cx="4826000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08000" y="0"/>
            <a:ext cx="8142288" cy="3308349"/>
          </a:xfrm>
        </p:spPr>
        <p:txBody>
          <a:bodyPr tIns="216000"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0956948-2691-4BD7-8B27-BB5218F78FF8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936476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6929"/>
            <a:ext cx="5087094" cy="5842775"/>
          </a:xfrm>
          <a:solidFill>
            <a:srgbClr val="EFE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5688" y="1028701"/>
            <a:ext cx="7104724" cy="5341826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3"/>
            <a:ext cx="4324350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08000" y="0"/>
            <a:ext cx="7372350" cy="3308351"/>
          </a:xfrm>
        </p:spPr>
        <p:txBody>
          <a:bodyPr tIns="216000"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9283854-3974-4686-B267-AEC5C7E02876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698454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Za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2552701"/>
            <a:ext cx="5600699" cy="332536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0701" y="2552700"/>
            <a:ext cx="5921050" cy="3297004"/>
          </a:xfrm>
        </p:spPr>
        <p:txBody>
          <a:bodyPr lIns="360000" tIns="216000" rIns="0" anchor="t"/>
          <a:lstStyle>
            <a:lvl1pPr>
              <a:defRPr lang="de-DE" sz="20000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00</a:t>
            </a:r>
            <a:br>
              <a:rPr lang="de-DE" noProof="0" dirty="0"/>
            </a:br>
            <a:endParaRPr lang="de-DE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7618413" cy="2481261"/>
          </a:xfrm>
          <a:prstGeom prst="rect">
            <a:avLst/>
          </a:prstGeom>
        </p:spPr>
        <p:txBody>
          <a:bodyPr tIns="0" bIns="216000" anchor="b"/>
          <a:lstStyle>
            <a:lvl1pPr marL="0" algn="l" defTabSz="1219170" rtl="0" eaLnBrk="1" latinLnBrk="0" hangingPunct="1">
              <a:defRPr lang="de-DE" sz="4400" b="1" kern="1200" cap="none" baseline="0" dirty="0" smtClean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 mit Textlauf von unten nach oben</a:t>
            </a: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1" y="3560763"/>
            <a:ext cx="4826000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9817CA7-EFCC-4BA2-AC03-B98F91F44BE2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238866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12190413" cy="6859588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13" y="2552700"/>
            <a:ext cx="4567237" cy="3297004"/>
          </a:xfrm>
        </p:spPr>
        <p:txBody>
          <a:bodyPr lIns="144000" tIns="216000" rIns="0" anchor="t"/>
          <a:lstStyle>
            <a:lvl1pPr>
              <a:defRPr lang="de-DE" sz="20000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00</a:t>
            </a:r>
            <a:br>
              <a:rPr lang="de-DE" noProof="0" dirty="0"/>
            </a:br>
            <a:endParaRPr lang="de-DE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8142288" cy="2538412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9170" rtl="0" eaLnBrk="1" latinLnBrk="0" hangingPunct="1">
              <a:defRPr lang="de-DE" sz="4400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23095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0"/>
            <a:ext cx="12190413" cy="6859588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/>
              <a:t>Formatvorlagen des Textmasters bearbeiten</a:t>
            </a: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00" y="515939"/>
            <a:ext cx="8142287" cy="2538412"/>
          </a:xfrm>
          <a:prstGeom prst="rect">
            <a:avLst/>
          </a:prstGeom>
        </p:spPr>
        <p:txBody>
          <a:bodyPr tIns="0" bIns="180000" anchor="b"/>
          <a:lstStyle>
            <a:lvl1pPr marL="0" algn="l" defTabSz="1219170" rtl="0" eaLnBrk="1" latinLnBrk="0" hangingPunct="1">
              <a:defRPr lang="de-DE" sz="4400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3"/>
            <a:ext cx="5588000" cy="2551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100">
                <a:solidFill>
                  <a:schemeClr val="bg1"/>
                </a:solidFill>
              </a:defRPr>
            </a:lvl6pPr>
            <a:lvl7pPr>
              <a:defRPr sz="1100"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42850473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Inhal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00" y="1555775"/>
            <a:ext cx="11179175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8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400">
                <a:solidFill>
                  <a:schemeClr val="tx1"/>
                </a:solidFill>
              </a:defRPr>
            </a:lvl7pPr>
            <a:lvl8pPr>
              <a:defRPr sz="12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10139985" cy="664632"/>
          </a:xfrm>
          <a:solidFill>
            <a:srgbClr val="F8F4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59201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B0B76A45-EE22-4916-8337-473E2802E4AE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08000" y="444428"/>
            <a:ext cx="9404350" cy="32392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2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833432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Inhalt mit kleiner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10139985" cy="664632"/>
          </a:xfrm>
          <a:solidFill>
            <a:srgbClr val="F8F4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00" y="1273176"/>
            <a:ext cx="11179175" cy="5097350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B0B76A45-EE22-4916-8337-473E2802E4AE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508000" y="444428"/>
            <a:ext cx="9404350" cy="32392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39012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9"/>
            <a:ext cx="1530349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0" y="766800"/>
            <a:ext cx="4324349" cy="1510866"/>
          </a:xfrm>
        </p:spPr>
        <p:txBody>
          <a:bodyPr/>
          <a:lstStyle>
            <a:lvl1pPr>
              <a:defRPr lang="en-GB" sz="3600" b="1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EBB441B-D399-426A-BF00-2ABCCC4D2B76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149022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9"/>
            <a:ext cx="1530349" cy="5842775"/>
          </a:xfrm>
          <a:solidFill>
            <a:srgbClr val="E6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4832350" y="1273176"/>
            <a:ext cx="6600826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8350"/>
            <a:ext cx="4324350" cy="4605661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1873BCE-9C5B-451C-B028-4B37DD4E2753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98455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-1" y="1"/>
            <a:ext cx="5082689" cy="6352029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5082688" y="6929"/>
            <a:ext cx="4829661" cy="4573009"/>
          </a:xfrm>
          <a:solidFill>
            <a:srgbClr val="CAD4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00" y="3314700"/>
            <a:ext cx="4242473" cy="20593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5498"/>
            <a:ext cx="7975140" cy="2304256"/>
          </a:xfrm>
        </p:spPr>
        <p:txBody>
          <a:bodyPr/>
          <a:lstStyle>
            <a:lvl1pPr>
              <a:defRPr sz="4400">
                <a:solidFill>
                  <a:schemeClr val="accent5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139" y="5843102"/>
            <a:ext cx="2034974" cy="508928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34086D2-D6B9-4FB1-9FEC-C23B4928AA9B}"/>
              </a:ext>
            </a:extLst>
          </p:cNvPr>
          <p:cNvSpPr txBox="1"/>
          <p:nvPr/>
        </p:nvSpPr>
        <p:spPr>
          <a:xfrm>
            <a:off x="515640" y="6494402"/>
            <a:ext cx="46699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</a:t>
            </a:r>
            <a:endParaRPr lang="de-DE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00450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2spaltig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9"/>
            <a:ext cx="1530349" cy="5842775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4834021" y="1273176"/>
            <a:ext cx="3300329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8388349" y="1273176"/>
            <a:ext cx="3301200" cy="4838701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8349"/>
            <a:ext cx="4324350" cy="4533653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5DF11D3-92F6-49FD-89A7-2660A9F507D6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813367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10139985" cy="664632"/>
          </a:xfrm>
          <a:solidFill>
            <a:srgbClr val="FB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8000" y="1530350"/>
            <a:ext cx="5403324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282000" y="1530350"/>
            <a:ext cx="5403600" cy="4581526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1D5F0FB-E525-45CF-B6DE-700A4D8B5E8A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08000" y="444428"/>
            <a:ext cx="9404350" cy="32392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7703310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/>
          </p:nvPr>
        </p:nvSpPr>
        <p:spPr>
          <a:xfrm>
            <a:off x="0" y="2552700"/>
            <a:ext cx="5848349" cy="3297003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/>
              <a:t>Formatvorlagen des Textmasters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0" y="981523"/>
            <a:ext cx="4574689" cy="2536825"/>
          </a:xfrm>
        </p:spPr>
        <p:txBody>
          <a:bodyPr tIns="0" bIns="180000" anchor="b"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 mit </a:t>
            </a:r>
            <a:r>
              <a:rPr lang="de-DE" noProof="0" dirty="0" err="1"/>
              <a:t>Textlauf</a:t>
            </a:r>
            <a:r>
              <a:rPr lang="de-DE" noProof="0" dirty="0"/>
              <a:t> von unten nach ob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574688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2" y="1030288"/>
            <a:ext cx="5425749" cy="4819650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Optionale Zeile zur Anzeige des Kapitels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587CE161-6918-45B8-92F4-F200090F1DEA}" type="datetime1">
              <a:rPr lang="de-DE" smtClean="0"/>
              <a:t>18.01.2024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726396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/>
          </p:nvPr>
        </p:nvSpPr>
        <p:spPr>
          <a:xfrm>
            <a:off x="0" y="2552700"/>
            <a:ext cx="5848349" cy="3297003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/>
              <a:t>Formatvorlagen des Textmasters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Optionale Zeile zur Anzeige des Kapitel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00" y="981523"/>
            <a:ext cx="4574689" cy="2536825"/>
          </a:xfrm>
        </p:spPr>
        <p:txBody>
          <a:bodyPr tIns="0" bIns="180000" anchor="b"/>
          <a:lstStyle>
            <a:lvl1pPr>
              <a:defRPr sz="3600" baseline="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 mit </a:t>
            </a:r>
            <a:r>
              <a:rPr lang="de-DE" noProof="0" dirty="0" err="1"/>
              <a:t>Textlauf</a:t>
            </a:r>
            <a:r>
              <a:rPr lang="de-DE" noProof="0" dirty="0"/>
              <a:t> von unten nach ob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508000" y="3821113"/>
            <a:ext cx="4574688" cy="2549524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8350" y="1030290"/>
            <a:ext cx="5673400" cy="5081587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3D25366-FECE-4658-8742-418ABC361F10}" type="datetime1">
              <a:rPr lang="de-DE" smtClean="0"/>
              <a:t>18.01.202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01304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6929"/>
            <a:ext cx="1530349" cy="5842775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0" y="765499"/>
            <a:ext cx="6959449" cy="2304255"/>
          </a:xfrm>
        </p:spPr>
        <p:txBody>
          <a:bodyPr/>
          <a:lstStyle>
            <a:lvl1pPr>
              <a:defRPr lang="en-GB" sz="3600" b="1" kern="1200" cap="none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021080"/>
            <a:ext cx="6094412" cy="5838508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3"/>
            <a:ext cx="5587205" cy="2288941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2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1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0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F3E2875-1FD1-4170-BA52-E00030F000CF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3987891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10139985" cy="664632"/>
          </a:xfrm>
          <a:solidFill>
            <a:srgbClr val="F1F9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01" y="1530350"/>
            <a:ext cx="3560762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000" y="1530350"/>
            <a:ext cx="3560400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6000" y="1530350"/>
            <a:ext cx="3560400" cy="484017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0C7E490-5551-43AD-9544-288E9290F6E0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</p:spTree>
    <p:extLst>
      <p:ext uri="{BB962C8B-B14F-4D97-AF65-F5344CB8AC3E}">
        <p14:creationId xmlns:p14="http://schemas.microsoft.com/office/powerpoint/2010/main" val="1401329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zeiliger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23"/>
          <p:cNvSpPr>
            <a:spLocks noGrp="1"/>
          </p:cNvSpPr>
          <p:nvPr>
            <p:ph type="body" sz="quarter" idx="29"/>
          </p:nvPr>
        </p:nvSpPr>
        <p:spPr>
          <a:xfrm>
            <a:off x="0" y="1"/>
            <a:ext cx="10139985" cy="66463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00" y="4846175"/>
            <a:ext cx="3560400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000" y="4846175"/>
            <a:ext cx="3560400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6112" y="4846175"/>
            <a:ext cx="3560400" cy="1524353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600" y="1530706"/>
            <a:ext cx="3560400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20000" y="1530706"/>
            <a:ext cx="3560400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36112" y="1530706"/>
            <a:ext cx="3560400" cy="3050822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802AF7BB-BBA3-4B4D-8B4A-5ADE5AC70DF1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9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30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</p:spTree>
    <p:extLst>
      <p:ext uri="{BB962C8B-B14F-4D97-AF65-F5344CB8AC3E}">
        <p14:creationId xmlns:p14="http://schemas.microsoft.com/office/powerpoint/2010/main" val="41178905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zeilig Bild und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10139985" cy="66463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599" y="4089068"/>
            <a:ext cx="3560400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000" y="4089068"/>
            <a:ext cx="3560400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6112" y="4089068"/>
            <a:ext cx="3560400" cy="1788998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599" y="1540014"/>
            <a:ext cx="3560400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20000" y="1540014"/>
            <a:ext cx="3560400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36112" y="1540014"/>
            <a:ext cx="3560400" cy="2047291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55040173-08C2-474D-9FEA-4F8976AE6717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5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</p:spTree>
    <p:extLst>
      <p:ext uri="{BB962C8B-B14F-4D97-AF65-F5344CB8AC3E}">
        <p14:creationId xmlns:p14="http://schemas.microsoft.com/office/powerpoint/2010/main" val="335392139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zeilig Bild und Inhalt 4-spaltig Typ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10139985" cy="66463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00" y="3830775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000" y="1538115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10" y="3830775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600" y="1540011"/>
            <a:ext cx="2545200" cy="178899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000" y="3831139"/>
            <a:ext cx="2545200" cy="178899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10" y="1540011"/>
            <a:ext cx="2545200" cy="178899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2000" y="1538115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2000" y="3831139"/>
            <a:ext cx="2545200" cy="178899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013FFF0E-BEB6-4FD2-9300-BAE985DEC3C3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0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</p:spTree>
    <p:extLst>
      <p:ext uri="{BB962C8B-B14F-4D97-AF65-F5344CB8AC3E}">
        <p14:creationId xmlns:p14="http://schemas.microsoft.com/office/powerpoint/2010/main" val="125815479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zeilig Bild und Inhalt 4-spaltig Typ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0" y="1"/>
            <a:ext cx="10139985" cy="664632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/>
              <a:t>Formatvorlagen des Textmasters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00" y="3830401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000" y="3830401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5611" y="3830401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600" y="1540800"/>
            <a:ext cx="2545200" cy="178899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000" y="1540800"/>
            <a:ext cx="2545200" cy="178899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5611" y="1540800"/>
            <a:ext cx="2545200" cy="178899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2000" y="3830401"/>
            <a:ext cx="2545200" cy="2047291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2000" y="1540800"/>
            <a:ext cx="2545200" cy="178899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8E84AC53-0775-458F-8051-971865A44E8D}" type="datetime1">
              <a:rPr lang="de-DE" noProof="0" smtClean="0"/>
              <a:t>18.01.2024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0" name="Freeform 54"/>
          <p:cNvSpPr>
            <a:spLocks noEditPoints="1"/>
          </p:cNvSpPr>
          <p:nvPr userDrawn="1"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00" y="260352"/>
            <a:ext cx="5586413" cy="155575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</p:spTree>
    <p:extLst>
      <p:ext uri="{BB962C8B-B14F-4D97-AF65-F5344CB8AC3E}">
        <p14:creationId xmlns:p14="http://schemas.microsoft.com/office/powerpoint/2010/main" val="584382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9"/>
            <a:ext cx="1530349" cy="5842775"/>
          </a:xfrm>
          <a:solidFill>
            <a:srgbClr val="D7D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32350" y="1030288"/>
            <a:ext cx="6600826" cy="4819416"/>
          </a:xfrm>
          <a:prstGeom prst="rect">
            <a:avLst/>
          </a:prstGeom>
        </p:spPr>
        <p:txBody>
          <a:bodyPr wrap="square" tIns="0"/>
          <a:lstStyle>
            <a:lvl1pPr marL="0" algn="l" defTabSz="1219170" rtl="0" eaLnBrk="1" latinLnBrk="0" hangingPunct="1">
              <a:spcAft>
                <a:spcPts val="4800"/>
              </a:spcAft>
              <a:defRPr lang="de-DE" sz="16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marL="0" marR="0" lvl="1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2</a:t>
            </a:r>
          </a:p>
          <a:p>
            <a:pPr marL="0" marR="0" lvl="2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3</a:t>
            </a:r>
          </a:p>
          <a:p>
            <a:pPr marL="0" marR="0" lvl="3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4</a:t>
            </a:r>
          </a:p>
          <a:p>
            <a:pPr marL="0" marR="0" lvl="4" indent="0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5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1796" y="768350"/>
            <a:ext cx="4160554" cy="4389636"/>
          </a:xfrm>
        </p:spPr>
        <p:txBody>
          <a:bodyPr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A10177-0A69-40D8-BA85-369C5BEC07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D399976-E31E-4BF2-BFD3-F926A61DCA0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542C7D3-D59B-4F96-9599-2B9A60F3E29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513444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:\JOBS\19_DMCGROUP\PP_AKTUELL_2014\RES\16zu9_Grid_PNG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3262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mall Typo">
  <p:cSld name="Small Typo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6" descr="Spalte links" title="Spalte links"/>
          <p:cNvSpPr txBox="1">
            <a:spLocks noGrp="1"/>
          </p:cNvSpPr>
          <p:nvPr>
            <p:ph type="body" idx="1"/>
          </p:nvPr>
        </p:nvSpPr>
        <p:spPr>
          <a:xfrm>
            <a:off x="606819" y="1273176"/>
            <a:ext cx="11088295" cy="5097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l">
              <a:lnSpc>
                <a:spcPct val="137142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317405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189" lvl="2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>
                <a:solidFill>
                  <a:schemeClr val="dk1"/>
                </a:solidFill>
              </a:defRPr>
            </a:lvl3pPr>
            <a:lvl4pPr marL="1828251" lvl="3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200"/>
              <a:buAutoNum type="arabicPeriod"/>
              <a:defRPr sz="1200">
                <a:solidFill>
                  <a:schemeClr val="dk1"/>
                </a:solidFill>
              </a:defRPr>
            </a:lvl4pPr>
            <a:lvl5pPr marL="2285314" lvl="4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solidFill>
                  <a:schemeClr val="dk1"/>
                </a:solidFill>
              </a:defRPr>
            </a:lvl5pPr>
            <a:lvl6pPr marL="2742377" lvl="5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>
                <a:solidFill>
                  <a:schemeClr val="dk1"/>
                </a:solidFill>
              </a:defRPr>
            </a:lvl6pPr>
            <a:lvl7pPr marL="3199440" lvl="6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marL="3656502" lvl="7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marL="4113566" lvl="8" indent="-26662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600"/>
              <a:buAutoNum type="arabicParenR"/>
              <a:defRPr sz="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0" name="Google Shape;40;p26"/>
          <p:cNvSpPr txBox="1">
            <a:spLocks noGrp="1"/>
          </p:cNvSpPr>
          <p:nvPr>
            <p:ph type="body" idx="2"/>
          </p:nvPr>
        </p:nvSpPr>
        <p:spPr>
          <a:xfrm>
            <a:off x="4" y="1"/>
            <a:ext cx="8649691" cy="768350"/>
          </a:xfrm>
          <a:prstGeom prst="rect">
            <a:avLst/>
          </a:prstGeom>
          <a:solidFill>
            <a:srgbClr val="F1F9FA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063" lvl="0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"/>
              <a:buNone/>
              <a:defRPr sz="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lvl="1" indent="-342797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189" lvl="2" indent="-342797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1828251" lvl="3" indent="-342797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AutoNum type="arabicPeriod"/>
              <a:defRPr/>
            </a:lvl4pPr>
            <a:lvl5pPr marL="2285314" lvl="4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2377" lvl="5" indent="-342797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6pPr>
            <a:lvl7pPr marL="3199440" lvl="6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6502" lvl="7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3566" lvl="8" indent="-342797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800"/>
              <a:buAutoNum type="arabicParenR"/>
              <a:defRPr/>
            </a:lvl9pPr>
          </a:lstStyle>
          <a:p>
            <a:endParaRPr/>
          </a:p>
        </p:txBody>
      </p:sp>
      <p:sp>
        <p:nvSpPr>
          <p:cNvPr id="41" name="Google Shape;41;p26"/>
          <p:cNvSpPr txBox="1">
            <a:spLocks noGrp="1"/>
          </p:cNvSpPr>
          <p:nvPr>
            <p:ph type="title"/>
          </p:nvPr>
        </p:nvSpPr>
        <p:spPr>
          <a:xfrm>
            <a:off x="606819" y="515937"/>
            <a:ext cx="10574079" cy="514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5975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3781"/>
              </a:buClr>
              <a:buSzPts val="3000"/>
              <a:buFont typeface="Arial"/>
              <a:buNone/>
              <a:defRPr sz="2999">
                <a:solidFill>
                  <a:srgbClr val="00378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6"/>
          <p:cNvSpPr txBox="1">
            <a:spLocks noGrp="1"/>
          </p:cNvSpPr>
          <p:nvPr>
            <p:ph type="ftr" idx="11"/>
          </p:nvPr>
        </p:nvSpPr>
        <p:spPr>
          <a:xfrm>
            <a:off x="606819" y="6369050"/>
            <a:ext cx="5607115" cy="1253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/>
              <a:t>FirmenOnline | Sponsoren Board | 29.03.2021</a:t>
            </a:r>
            <a:endParaRPr/>
          </a:p>
        </p:txBody>
      </p:sp>
      <p:sp>
        <p:nvSpPr>
          <p:cNvPr id="43" name="Google Shape;43;p26"/>
          <p:cNvSpPr txBox="1">
            <a:spLocks noGrp="1"/>
          </p:cNvSpPr>
          <p:nvPr>
            <p:ph type="body" idx="3"/>
          </p:nvPr>
        </p:nvSpPr>
        <p:spPr>
          <a:xfrm>
            <a:off x="606820" y="201357"/>
            <a:ext cx="5580063" cy="155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063" lvl="0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latin typeface="Arial"/>
                <a:ea typeface="Arial"/>
                <a:cs typeface="Arial"/>
                <a:sym typeface="Arial"/>
              </a:defRPr>
            </a:lvl1pPr>
            <a:lvl2pPr marL="914126" lvl="1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189" lvl="2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/>
            </a:lvl3pPr>
            <a:lvl4pPr marL="1828251" lvl="3" indent="-30470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200"/>
              <a:buAutoNum type="arabicPeriod"/>
              <a:defRPr sz="1200"/>
            </a:lvl4pPr>
            <a:lvl5pPr marL="2285314" lvl="4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marL="2742377" lvl="5" indent="-342797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6pPr>
            <a:lvl7pPr marL="3199440" lvl="6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6502" lvl="7" indent="-22853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3566" lvl="8" indent="-342797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800"/>
              <a:buAutoNum type="arabicParenR"/>
              <a:defRPr/>
            </a:lvl9pPr>
          </a:lstStyle>
          <a:p>
            <a:endParaRPr/>
          </a:p>
        </p:txBody>
      </p:sp>
      <p:sp>
        <p:nvSpPr>
          <p:cNvPr id="44" name="Google Shape;44;p26"/>
          <p:cNvSpPr txBox="1">
            <a:spLocks noGrp="1"/>
          </p:cNvSpPr>
          <p:nvPr>
            <p:ph type="dt" idx="10"/>
          </p:nvPr>
        </p:nvSpPr>
        <p:spPr>
          <a:xfrm>
            <a:off x="606818" y="6494403"/>
            <a:ext cx="1306854" cy="1231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5" name="Google Shape;45;p26"/>
          <p:cNvSpPr/>
          <p:nvPr/>
        </p:nvSpPr>
        <p:spPr>
          <a:xfrm>
            <a:off x="11386303" y="260709"/>
            <a:ext cx="308874" cy="309978"/>
          </a:xfrm>
          <a:custGeom>
            <a:avLst/>
            <a:gdLst/>
            <a:ahLst/>
            <a:cxnLst/>
            <a:rect l="l" t="t" r="r" b="b"/>
            <a:pathLst>
              <a:path w="396" h="397" extrusionOk="0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spcFirstLastPara="1" wrap="square" lIns="121806" tIns="60878" rIns="121806" bIns="60878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rgbClr val="00378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46;p26"/>
          <p:cNvSpPr txBox="1">
            <a:spLocks noGrp="1"/>
          </p:cNvSpPr>
          <p:nvPr>
            <p:ph type="sldNum" idx="12"/>
          </p:nvPr>
        </p:nvSpPr>
        <p:spPr>
          <a:xfrm>
            <a:off x="11180900" y="6493949"/>
            <a:ext cx="514281" cy="3656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21673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761017-7A9E-407D-8DCD-CEDEF7758D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Bildplatzhalter 11">
            <a:extLst>
              <a:ext uri="{FF2B5EF4-FFF2-40B4-BE49-F238E27FC236}">
                <a16:creationId xmlns:a16="http://schemas.microsoft.com/office/drawing/2014/main" id="{727A807A-44F9-421E-99A3-97AA646802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0413" cy="6859588"/>
          </a:xfrm>
          <a:prstGeom prst="rect">
            <a:avLst/>
          </a:prstGeom>
        </p:spPr>
      </p:pic>
      <p:sp>
        <p:nvSpPr>
          <p:cNvPr id="6" name="Grafik 13">
            <a:extLst>
              <a:ext uri="{FF2B5EF4-FFF2-40B4-BE49-F238E27FC236}">
                <a16:creationId xmlns:a16="http://schemas.microsoft.com/office/drawing/2014/main" id="{CE079E16-C310-4874-A85B-DA706D4C21CA}"/>
              </a:ext>
            </a:extLst>
          </p:cNvPr>
          <p:cNvSpPr>
            <a:spLocks noChangeAspect="1"/>
          </p:cNvSpPr>
          <p:nvPr userDrawn="1"/>
        </p:nvSpPr>
        <p:spPr>
          <a:xfrm>
            <a:off x="3809602" y="1143362"/>
            <a:ext cx="4571213" cy="4572866"/>
          </a:xfrm>
          <a:custGeom>
            <a:avLst/>
            <a:gdLst>
              <a:gd name="connsiteX0" fmla="*/ 3048606 w 5327650"/>
              <a:gd name="connsiteY0" fmla="*/ 4158431 h 5327649"/>
              <a:gd name="connsiteX1" fmla="*/ 3048606 w 5327650"/>
              <a:gd name="connsiteY1" fmla="*/ 1218444 h 5327649"/>
              <a:gd name="connsiteX2" fmla="*/ 2737659 w 5327650"/>
              <a:gd name="connsiteY2" fmla="*/ 905364 h 5327649"/>
              <a:gd name="connsiteX3" fmla="*/ 2049870 w 5327650"/>
              <a:gd name="connsiteY3" fmla="*/ 905364 h 5327649"/>
              <a:gd name="connsiteX4" fmla="*/ 2049870 w 5327650"/>
              <a:gd name="connsiteY4" fmla="*/ 1233529 h 5327649"/>
              <a:gd name="connsiteX5" fmla="*/ 2090888 w 5327650"/>
              <a:gd name="connsiteY5" fmla="*/ 1233529 h 5327649"/>
              <a:gd name="connsiteX6" fmla="*/ 2278251 w 5327650"/>
              <a:gd name="connsiteY6" fmla="*/ 1458216 h 5327649"/>
              <a:gd name="connsiteX7" fmla="*/ 2278251 w 5327650"/>
              <a:gd name="connsiteY7" fmla="*/ 4158431 h 5327649"/>
              <a:gd name="connsiteX8" fmla="*/ 3048606 w 5327650"/>
              <a:gd name="connsiteY8" fmla="*/ 4158431 h 5327649"/>
              <a:gd name="connsiteX9" fmla="*/ 3387869 w 5327650"/>
              <a:gd name="connsiteY9" fmla="*/ 4158431 h 5327649"/>
              <a:gd name="connsiteX10" fmla="*/ 4152137 w 5327650"/>
              <a:gd name="connsiteY10" fmla="*/ 4158431 h 5327649"/>
              <a:gd name="connsiteX11" fmla="*/ 4152137 w 5327650"/>
              <a:gd name="connsiteY11" fmla="*/ 1868687 h 5327649"/>
              <a:gd name="connsiteX12" fmla="*/ 3839602 w 5327650"/>
              <a:gd name="connsiteY12" fmla="*/ 1556136 h 5327649"/>
              <a:gd name="connsiteX13" fmla="*/ 3387869 w 5327650"/>
              <a:gd name="connsiteY13" fmla="*/ 1556136 h 5327649"/>
              <a:gd name="connsiteX14" fmla="*/ 3387869 w 5327650"/>
              <a:gd name="connsiteY14" fmla="*/ 4158431 h 5327649"/>
              <a:gd name="connsiteX15" fmla="*/ 1940840 w 5327650"/>
              <a:gd name="connsiteY15" fmla="*/ 4158431 h 5327649"/>
              <a:gd name="connsiteX16" fmla="*/ 1940840 w 5327650"/>
              <a:gd name="connsiteY16" fmla="*/ 1556136 h 5327649"/>
              <a:gd name="connsiteX17" fmla="*/ 1488048 w 5327650"/>
              <a:gd name="connsiteY17" fmla="*/ 1556136 h 5327649"/>
              <a:gd name="connsiteX18" fmla="*/ 1176307 w 5327650"/>
              <a:gd name="connsiteY18" fmla="*/ 1868687 h 5327649"/>
              <a:gd name="connsiteX19" fmla="*/ 1176307 w 5327650"/>
              <a:gd name="connsiteY19" fmla="*/ 4158431 h 5327649"/>
              <a:gd name="connsiteX20" fmla="*/ 1940840 w 5327650"/>
              <a:gd name="connsiteY20" fmla="*/ 4158431 h 5327649"/>
              <a:gd name="connsiteX21" fmla="*/ 4875123 w 5327650"/>
              <a:gd name="connsiteY21" fmla="*/ 2664222 h 5327649"/>
              <a:gd name="connsiteX22" fmla="*/ 2664090 w 5327650"/>
              <a:gd name="connsiteY22" fmla="*/ 4901565 h 5327649"/>
              <a:gd name="connsiteX23" fmla="*/ 452792 w 5327650"/>
              <a:gd name="connsiteY23" fmla="*/ 2664222 h 5327649"/>
              <a:gd name="connsiteX24" fmla="*/ 2664090 w 5327650"/>
              <a:gd name="connsiteY24" fmla="*/ 426350 h 5327649"/>
              <a:gd name="connsiteX25" fmla="*/ 4875123 w 5327650"/>
              <a:gd name="connsiteY25" fmla="*/ 2664222 h 5327649"/>
              <a:gd name="connsiteX26" fmla="*/ 5327650 w 5327650"/>
              <a:gd name="connsiteY26" fmla="*/ 2657341 h 5327649"/>
              <a:gd name="connsiteX27" fmla="*/ 2667530 w 5327650"/>
              <a:gd name="connsiteY27" fmla="*/ 0 h 5327649"/>
              <a:gd name="connsiteX28" fmla="*/ 2660649 w 5327650"/>
              <a:gd name="connsiteY28" fmla="*/ 0 h 5327649"/>
              <a:gd name="connsiteX29" fmla="*/ 0 w 5327650"/>
              <a:gd name="connsiteY29" fmla="*/ 2664222 h 5327649"/>
              <a:gd name="connsiteX30" fmla="*/ 2664090 w 5327650"/>
              <a:gd name="connsiteY30" fmla="*/ 5327650 h 5327649"/>
              <a:gd name="connsiteX31" fmla="*/ 5327650 w 5327650"/>
              <a:gd name="connsiteY31" fmla="*/ 2670838 h 5327649"/>
              <a:gd name="connsiteX32" fmla="*/ 5327650 w 5327650"/>
              <a:gd name="connsiteY32" fmla="*/ 2657341 h 53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327650" h="5327649">
                <a:moveTo>
                  <a:pt x="3048606" y="4158431"/>
                </a:moveTo>
                <a:lnTo>
                  <a:pt x="3048606" y="1218444"/>
                </a:lnTo>
                <a:cubicBezTo>
                  <a:pt x="3048606" y="984230"/>
                  <a:pt x="2965245" y="905364"/>
                  <a:pt x="2737659" y="905364"/>
                </a:cubicBezTo>
                <a:lnTo>
                  <a:pt x="2049870" y="905364"/>
                </a:lnTo>
                <a:lnTo>
                  <a:pt x="2049870" y="1233529"/>
                </a:lnTo>
                <a:lnTo>
                  <a:pt x="2090888" y="1233529"/>
                </a:lnTo>
                <a:cubicBezTo>
                  <a:pt x="2248082" y="1233529"/>
                  <a:pt x="2278251" y="1268992"/>
                  <a:pt x="2278251" y="1458216"/>
                </a:cubicBezTo>
                <a:lnTo>
                  <a:pt x="2278251" y="4158431"/>
                </a:lnTo>
                <a:lnTo>
                  <a:pt x="3048606" y="4158431"/>
                </a:lnTo>
                <a:close/>
                <a:moveTo>
                  <a:pt x="3387869" y="4158431"/>
                </a:moveTo>
                <a:lnTo>
                  <a:pt x="4152137" y="4158431"/>
                </a:lnTo>
                <a:lnTo>
                  <a:pt x="4152137" y="1868687"/>
                </a:lnTo>
                <a:cubicBezTo>
                  <a:pt x="4152137" y="1638972"/>
                  <a:pt x="4063484" y="1556136"/>
                  <a:pt x="3839602" y="1556136"/>
                </a:cubicBezTo>
                <a:lnTo>
                  <a:pt x="3387869" y="1556136"/>
                </a:lnTo>
                <a:lnTo>
                  <a:pt x="3387869" y="4158431"/>
                </a:lnTo>
                <a:close/>
                <a:moveTo>
                  <a:pt x="1940840" y="4158431"/>
                </a:moveTo>
                <a:lnTo>
                  <a:pt x="1940840" y="1556136"/>
                </a:lnTo>
                <a:lnTo>
                  <a:pt x="1488048" y="1556136"/>
                </a:lnTo>
                <a:cubicBezTo>
                  <a:pt x="1264166" y="1556136"/>
                  <a:pt x="1176307" y="1638972"/>
                  <a:pt x="1176307" y="1868687"/>
                </a:cubicBezTo>
                <a:lnTo>
                  <a:pt x="1176307" y="4158431"/>
                </a:lnTo>
                <a:lnTo>
                  <a:pt x="1940840" y="4158431"/>
                </a:lnTo>
                <a:close/>
                <a:moveTo>
                  <a:pt x="4875123" y="2664222"/>
                </a:moveTo>
                <a:cubicBezTo>
                  <a:pt x="4875123" y="3959679"/>
                  <a:pt x="3943869" y="4901565"/>
                  <a:pt x="2664090" y="4901565"/>
                </a:cubicBezTo>
                <a:cubicBezTo>
                  <a:pt x="1384310" y="4901565"/>
                  <a:pt x="452792" y="3959679"/>
                  <a:pt x="452792" y="2664222"/>
                </a:cubicBezTo>
                <a:cubicBezTo>
                  <a:pt x="452792" y="1368500"/>
                  <a:pt x="1384310" y="426350"/>
                  <a:pt x="2664090" y="426350"/>
                </a:cubicBezTo>
                <a:cubicBezTo>
                  <a:pt x="3943869" y="426350"/>
                  <a:pt x="4875123" y="1374323"/>
                  <a:pt x="4875123" y="2664222"/>
                </a:cubicBezTo>
                <a:close/>
                <a:moveTo>
                  <a:pt x="5327650" y="2657341"/>
                </a:moveTo>
                <a:cubicBezTo>
                  <a:pt x="5324210" y="1138520"/>
                  <a:pt x="4187599" y="1588"/>
                  <a:pt x="2667530" y="0"/>
                </a:cubicBezTo>
                <a:lnTo>
                  <a:pt x="2660649" y="0"/>
                </a:lnTo>
                <a:cubicBezTo>
                  <a:pt x="1137670" y="1588"/>
                  <a:pt x="0" y="1141961"/>
                  <a:pt x="0" y="2664222"/>
                </a:cubicBezTo>
                <a:cubicBezTo>
                  <a:pt x="0" y="4189395"/>
                  <a:pt x="1139258" y="5327650"/>
                  <a:pt x="2664090" y="5327650"/>
                </a:cubicBezTo>
                <a:cubicBezTo>
                  <a:pt x="4186011" y="5327650"/>
                  <a:pt x="5324210" y="4192835"/>
                  <a:pt x="5327650" y="2670838"/>
                </a:cubicBezTo>
                <a:lnTo>
                  <a:pt x="5327650" y="265734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alpha val="25000"/>
                  <a:lumMod val="100000"/>
                </a:schemeClr>
              </a:gs>
            </a:gsLst>
            <a:lin ang="18900000" scaled="1"/>
            <a:tileRect/>
          </a:gradFill>
          <a:ln w="264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905" dirty="0"/>
          </a:p>
        </p:txBody>
      </p:sp>
    </p:spTree>
    <p:extLst>
      <p:ext uri="{BB962C8B-B14F-4D97-AF65-F5344CB8AC3E}">
        <p14:creationId xmlns:p14="http://schemas.microsoft.com/office/powerpoint/2010/main" val="1454408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Freistel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2552700"/>
            <a:ext cx="5600699" cy="3325366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848350" y="1530705"/>
            <a:ext cx="6342061" cy="483982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3"/>
            <a:ext cx="4826000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08000" y="0"/>
            <a:ext cx="8142288" cy="3308349"/>
          </a:xfrm>
        </p:spPr>
        <p:txBody>
          <a:bodyPr tIns="216000"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8FE338E-9F1E-4B13-B2B6-2D815DEC2F7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9E0863-CD90-4EF9-B5CB-0C006AAF4F31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AA6A49-E401-4339-8FE4-2D5B6EB16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8444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6929"/>
            <a:ext cx="5087094" cy="5842775"/>
          </a:xfrm>
          <a:solidFill>
            <a:srgbClr val="EFE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5688" y="1028701"/>
            <a:ext cx="7104724" cy="5341826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00" y="3560763"/>
            <a:ext cx="4324350" cy="228894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08000" y="0"/>
            <a:ext cx="7372350" cy="3308351"/>
          </a:xfrm>
        </p:spPr>
        <p:txBody>
          <a:bodyPr tIns="216000"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6323313-B9B3-4D93-9E2C-A260470931E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BBE75C-2ACB-48AF-A9D7-859AD57D14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50046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4212044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592" imgH="591" progId="TCLayout.ActiveDocument.1">
                  <p:embed/>
                </p:oleObj>
              </mc:Choice>
              <mc:Fallback>
                <p:oleObj name="think-cell Folie" r:id="rId3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8000" y="261939"/>
            <a:ext cx="9312467" cy="1042987"/>
          </a:xfrm>
          <a:prstGeom prst="rect">
            <a:avLst/>
          </a:prstGeom>
        </p:spPr>
        <p:txBody>
          <a:bodyPr vert="horz" wrap="square" lIns="0" tIns="180000" rIns="0" bIns="0" rtlCol="0" anchor="t">
            <a:noAutofit/>
          </a:bodyPr>
          <a:lstStyle/>
          <a:p>
            <a:r>
              <a:rPr lang="de-DE" noProof="0" dirty="0"/>
              <a:t>Überschrif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90264" y="6493951"/>
            <a:ext cx="532722" cy="36563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8000" y="1522413"/>
            <a:ext cx="11180969" cy="45716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de-DE" dirty="0"/>
              <a:t>09</a:t>
            </a:r>
          </a:p>
        </p:txBody>
      </p:sp>
      <p:cxnSp>
        <p:nvCxnSpPr>
          <p:cNvPr id="13" name="Gerade Verbindung 117">
            <a:extLst>
              <a:ext uri="{FF2B5EF4-FFF2-40B4-BE49-F238E27FC236}">
                <a16:creationId xmlns:a16="http://schemas.microsoft.com/office/drawing/2014/main" id="{C227105A-4E0A-4743-85BD-FE788683CE13}"/>
              </a:ext>
            </a:extLst>
          </p:cNvPr>
          <p:cNvCxnSpPr/>
          <p:nvPr/>
        </p:nvCxnSpPr>
        <p:spPr>
          <a:xfrm flipH="1">
            <a:off x="-313506" y="1273175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9">
            <a:extLst>
              <a:ext uri="{FF2B5EF4-FFF2-40B4-BE49-F238E27FC236}">
                <a16:creationId xmlns:a16="http://schemas.microsoft.com/office/drawing/2014/main" id="{209D897F-E37A-490B-80F1-9B65CCA7E24D}"/>
              </a:ext>
            </a:extLst>
          </p:cNvPr>
          <p:cNvCxnSpPr/>
          <p:nvPr/>
        </p:nvCxnSpPr>
        <p:spPr>
          <a:xfrm flipH="1">
            <a:off x="-313506" y="1529080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25">
            <a:extLst>
              <a:ext uri="{FF2B5EF4-FFF2-40B4-BE49-F238E27FC236}">
                <a16:creationId xmlns:a16="http://schemas.microsoft.com/office/drawing/2014/main" id="{ABFA64F6-A075-475F-8706-C0EF95691198}"/>
              </a:ext>
            </a:extLst>
          </p:cNvPr>
          <p:cNvCxnSpPr/>
          <p:nvPr/>
        </p:nvCxnSpPr>
        <p:spPr>
          <a:xfrm>
            <a:off x="6095206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26">
            <a:extLst>
              <a:ext uri="{FF2B5EF4-FFF2-40B4-BE49-F238E27FC236}">
                <a16:creationId xmlns:a16="http://schemas.microsoft.com/office/drawing/2014/main" id="{08828AB7-1F56-4A69-92F5-15969BDD8E19}"/>
              </a:ext>
            </a:extLst>
          </p:cNvPr>
          <p:cNvCxnSpPr/>
          <p:nvPr/>
        </p:nvCxnSpPr>
        <p:spPr>
          <a:xfrm>
            <a:off x="51183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7">
            <a:extLst>
              <a:ext uri="{FF2B5EF4-FFF2-40B4-BE49-F238E27FC236}">
                <a16:creationId xmlns:a16="http://schemas.microsoft.com/office/drawing/2014/main" id="{F85B75B9-D579-467A-9B7A-40A9C580952A}"/>
              </a:ext>
            </a:extLst>
          </p:cNvPr>
          <p:cNvCxnSpPr/>
          <p:nvPr/>
        </p:nvCxnSpPr>
        <p:spPr>
          <a:xfrm>
            <a:off x="330585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28">
            <a:extLst>
              <a:ext uri="{FF2B5EF4-FFF2-40B4-BE49-F238E27FC236}">
                <a16:creationId xmlns:a16="http://schemas.microsoft.com/office/drawing/2014/main" id="{43CF8A61-B833-445F-8BFA-4BAB8277CCA6}"/>
              </a:ext>
            </a:extLst>
          </p:cNvPr>
          <p:cNvCxnSpPr/>
          <p:nvPr/>
        </p:nvCxnSpPr>
        <p:spPr>
          <a:xfrm>
            <a:off x="8884945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29">
            <a:extLst>
              <a:ext uri="{FF2B5EF4-FFF2-40B4-BE49-F238E27FC236}">
                <a16:creationId xmlns:a16="http://schemas.microsoft.com/office/drawing/2014/main" id="{9AF9D8AC-8F09-4713-8E12-A5EC18A614A7}"/>
              </a:ext>
            </a:extLst>
          </p:cNvPr>
          <p:cNvCxnSpPr/>
          <p:nvPr/>
        </p:nvCxnSpPr>
        <p:spPr>
          <a:xfrm>
            <a:off x="1168897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0">
            <a:extLst>
              <a:ext uri="{FF2B5EF4-FFF2-40B4-BE49-F238E27FC236}">
                <a16:creationId xmlns:a16="http://schemas.microsoft.com/office/drawing/2014/main" id="{9B2DED4E-5A7B-46CC-A81B-FBE6842E79F4}"/>
              </a:ext>
            </a:extLst>
          </p:cNvPr>
          <p:cNvCxnSpPr/>
          <p:nvPr/>
        </p:nvCxnSpPr>
        <p:spPr>
          <a:xfrm>
            <a:off x="6099016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1">
            <a:extLst>
              <a:ext uri="{FF2B5EF4-FFF2-40B4-BE49-F238E27FC236}">
                <a16:creationId xmlns:a16="http://schemas.microsoft.com/office/drawing/2014/main" id="{225CF5E5-9195-41DD-87E6-8B5494443301}"/>
              </a:ext>
            </a:extLst>
          </p:cNvPr>
          <p:cNvCxnSpPr/>
          <p:nvPr/>
        </p:nvCxnSpPr>
        <p:spPr>
          <a:xfrm>
            <a:off x="51564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2">
            <a:extLst>
              <a:ext uri="{FF2B5EF4-FFF2-40B4-BE49-F238E27FC236}">
                <a16:creationId xmlns:a16="http://schemas.microsoft.com/office/drawing/2014/main" id="{91D1DE6C-D629-4DB9-AD69-D5D1994E4207}"/>
              </a:ext>
            </a:extLst>
          </p:cNvPr>
          <p:cNvCxnSpPr/>
          <p:nvPr/>
        </p:nvCxnSpPr>
        <p:spPr>
          <a:xfrm>
            <a:off x="330966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3">
            <a:extLst>
              <a:ext uri="{FF2B5EF4-FFF2-40B4-BE49-F238E27FC236}">
                <a16:creationId xmlns:a16="http://schemas.microsoft.com/office/drawing/2014/main" id="{425C6EF3-9F53-4739-96E9-13E0072C2629}"/>
              </a:ext>
            </a:extLst>
          </p:cNvPr>
          <p:cNvCxnSpPr/>
          <p:nvPr/>
        </p:nvCxnSpPr>
        <p:spPr>
          <a:xfrm>
            <a:off x="8888755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4">
            <a:extLst>
              <a:ext uri="{FF2B5EF4-FFF2-40B4-BE49-F238E27FC236}">
                <a16:creationId xmlns:a16="http://schemas.microsoft.com/office/drawing/2014/main" id="{DA049084-877D-4462-BFF0-DFE9644D4894}"/>
              </a:ext>
            </a:extLst>
          </p:cNvPr>
          <p:cNvCxnSpPr/>
          <p:nvPr/>
        </p:nvCxnSpPr>
        <p:spPr>
          <a:xfrm>
            <a:off x="1169278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54">
            <a:extLst>
              <a:ext uri="{FF2B5EF4-FFF2-40B4-BE49-F238E27FC236}">
                <a16:creationId xmlns:a16="http://schemas.microsoft.com/office/drawing/2014/main" id="{F65FC28E-EBDF-4F74-A77B-2E3F46E967F2}"/>
              </a:ext>
            </a:extLst>
          </p:cNvPr>
          <p:cNvSpPr>
            <a:spLocks noEditPoints="1"/>
          </p:cNvSpPr>
          <p:nvPr/>
        </p:nvSpPr>
        <p:spPr bwMode="auto">
          <a:xfrm>
            <a:off x="11386303" y="260709"/>
            <a:ext cx="308874" cy="309978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A6C6C3-2B2D-4E1E-A1DF-923A74D99F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2395" y="6494402"/>
            <a:ext cx="2410232" cy="12534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de-DE" sz="800" smtClean="0"/>
            </a:lvl1pPr>
          </a:lstStyle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FA06AF3-82C8-467B-AF65-8E55BBCC8E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627" y="6369053"/>
            <a:ext cx="5592580" cy="12534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800"/>
            </a:lvl1pPr>
          </a:lstStyle>
          <a:p>
            <a:r>
              <a:rPr lang="de-DE"/>
              <a:t>FirmenOnline | Sponsoren Board | 29.03.2021</a:t>
            </a:r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98F35A7D-686F-459E-821D-6829D1504A73}"/>
              </a:ext>
            </a:extLst>
          </p:cNvPr>
          <p:cNvSpPr txBox="1"/>
          <p:nvPr/>
        </p:nvSpPr>
        <p:spPr>
          <a:xfrm>
            <a:off x="515640" y="6494402"/>
            <a:ext cx="46699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</a:t>
            </a:r>
            <a:endParaRPr lang="de-DE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MSIPCMContentMarking" descr="{&quot;HashCode&quot;:417909460,&quot;Placement&quot;:&quot;Header&quot;,&quot;Top&quot;:0.0,&quot;Left&quot;:453.232849,&quot;SlideWidth&quot;:959,&quot;SlideHeight&quot;:540}"/>
          <p:cNvSpPr txBox="1"/>
          <p:nvPr userDrawn="1"/>
        </p:nvSpPr>
        <p:spPr>
          <a:xfrm>
            <a:off x="5756057" y="0"/>
            <a:ext cx="678298" cy="262344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de-DE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68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4" r:id="rId2"/>
    <p:sldLayoutId id="2147483740" r:id="rId3"/>
    <p:sldLayoutId id="2147483772" r:id="rId4"/>
    <p:sldLayoutId id="2147483702" r:id="rId5"/>
    <p:sldLayoutId id="2147483771" r:id="rId6"/>
    <p:sldLayoutId id="2147483706" r:id="rId7"/>
    <p:sldLayoutId id="2147483710" r:id="rId8"/>
    <p:sldLayoutId id="2147483708" r:id="rId9"/>
    <p:sldLayoutId id="2147483714" r:id="rId10"/>
    <p:sldLayoutId id="2147483716" r:id="rId11"/>
    <p:sldLayoutId id="2147483745" r:id="rId12"/>
    <p:sldLayoutId id="2147483768" r:id="rId13"/>
    <p:sldLayoutId id="2147483769" r:id="rId14"/>
    <p:sldLayoutId id="2147483773" r:id="rId15"/>
    <p:sldLayoutId id="2147483762" r:id="rId16"/>
    <p:sldLayoutId id="2147483770" r:id="rId17"/>
    <p:sldLayoutId id="2147483766" r:id="rId18"/>
    <p:sldLayoutId id="2147483739" r:id="rId19"/>
    <p:sldLayoutId id="2147483719" r:id="rId20"/>
    <p:sldLayoutId id="2147483767" r:id="rId21"/>
    <p:sldLayoutId id="2147483748" r:id="rId22"/>
    <p:sldLayoutId id="2147483724" r:id="rId23"/>
    <p:sldLayoutId id="2147483725" r:id="rId24"/>
    <p:sldLayoutId id="2147483726" r:id="rId25"/>
    <p:sldLayoutId id="2147483729" r:id="rId26"/>
    <p:sldLayoutId id="2147483742" r:id="rId27"/>
    <p:sldLayoutId id="2147483733" r:id="rId28"/>
    <p:sldLayoutId id="2147483789" r:id="rId29"/>
    <p:sldLayoutId id="2147483792" r:id="rId30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30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marR="0" indent="-179388" algn="l" defTabSz="1219170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4013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61" indent="-237061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88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64" indent="-122764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59" userDrawn="1">
          <p15:clr>
            <a:srgbClr val="F26B43"/>
          </p15:clr>
        </p15:guide>
        <p15:guide id="2" pos="320" userDrawn="1">
          <p15:clr>
            <a:srgbClr val="F26B43"/>
          </p15:clr>
        </p15:guide>
        <p15:guide id="3" pos="7364" userDrawn="1">
          <p15:clr>
            <a:srgbClr val="F26B43"/>
          </p15:clr>
        </p15:guide>
        <p15:guide id="4" orient="horz" pos="3998" userDrawn="1">
          <p15:clr>
            <a:srgbClr val="F26B43"/>
          </p15:clr>
        </p15:guide>
        <p15:guide id="5" orient="horz" pos="278" userDrawn="1">
          <p15:clr>
            <a:srgbClr val="F26B43"/>
          </p15:clr>
        </p15:guide>
        <p15:guide id="6" orient="horz" pos="165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8" orient="horz" pos="2387" userDrawn="1">
          <p15:clr>
            <a:srgbClr val="F26B43"/>
          </p15:clr>
        </p15:guide>
        <p15:guide id="9" orient="horz" pos="3839" userDrawn="1">
          <p15:clr>
            <a:srgbClr val="F26B43"/>
          </p15:clr>
        </p15:guide>
        <p15:guide id="10" orient="horz" pos="4179" userDrawn="1">
          <p15:clr>
            <a:srgbClr val="F26B43"/>
          </p15:clr>
        </p15:guide>
        <p15:guide id="11" pos="38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1230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592" imgH="591" progId="TCLayout.ActiveDocument.1">
                  <p:embed/>
                </p:oleObj>
              </mc:Choice>
              <mc:Fallback>
                <p:oleObj name="think-cell Folie" r:id="rId1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kumimoji="0" lang="de-DE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38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640718" y="612539"/>
            <a:ext cx="8754240" cy="960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altLang="en-US" noProof="0" dirty="0"/>
              <a:t>22pt Regular / H1</a:t>
            </a:r>
            <a:r>
              <a:rPr lang="de-DE" altLang="en-US" noProof="0" dirty="0" err="1"/>
              <a:t>headlines</a:t>
            </a:r>
            <a:endParaRPr lang="de-DE" alt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6553" y="1511978"/>
            <a:ext cx="11041256" cy="4688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E1: 18pt Regular</a:t>
            </a:r>
          </a:p>
          <a:p>
            <a:pPr lvl="1"/>
            <a:r>
              <a:rPr lang="de-DE" noProof="0" dirty="0"/>
              <a:t>E2: 18pt Regular</a:t>
            </a:r>
          </a:p>
          <a:p>
            <a:pPr lvl="2"/>
            <a:r>
              <a:rPr lang="de-DE" noProof="0" dirty="0"/>
              <a:t>E3: 18pt Regular</a:t>
            </a:r>
          </a:p>
          <a:p>
            <a:pPr lvl="3"/>
            <a:r>
              <a:rPr lang="de-DE" noProof="0" dirty="0"/>
              <a:t>E4: 16pt Regular</a:t>
            </a:r>
          </a:p>
          <a:p>
            <a:pPr lvl="4"/>
            <a:r>
              <a:rPr lang="de-DE" noProof="0" dirty="0"/>
              <a:t>E5: 16pt Regular</a:t>
            </a:r>
          </a:p>
          <a:p>
            <a:pPr lvl="5"/>
            <a:r>
              <a:rPr lang="de-DE" noProof="0" dirty="0"/>
              <a:t>E6: 12pt</a:t>
            </a:r>
            <a:r>
              <a:rPr lang="de-DE" noProof="0" dirty="0" err="1"/>
              <a:t>Bold</a:t>
            </a:r>
            <a:endParaRPr lang="de-DE" noProof="0" dirty="0"/>
          </a:p>
          <a:p>
            <a:pPr lvl="6"/>
            <a:r>
              <a:rPr lang="de-DE" noProof="0" dirty="0"/>
              <a:t>E7: 12pt Regular</a:t>
            </a:r>
          </a:p>
          <a:p>
            <a:pPr lvl="7"/>
            <a:r>
              <a:rPr lang="de-DE" noProof="0" dirty="0"/>
              <a:t>E8: 12pt Regular</a:t>
            </a:r>
          </a:p>
          <a:p>
            <a:pPr lvl="8"/>
            <a:r>
              <a:rPr lang="de-DE" noProof="0" dirty="0"/>
              <a:t>E9: 8pt Regular</a:t>
            </a:r>
          </a:p>
          <a:p>
            <a:pPr lvl="8"/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557860" y="6426417"/>
            <a:ext cx="1781579" cy="36521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smtClean="0">
                <a:solidFill>
                  <a:schemeClr val="bg2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50247" y="6269855"/>
            <a:ext cx="8945563" cy="36521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/>
              <a:t>FirmenOnline | Sponsoren Board | 29.03.2021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10982813" y="6426417"/>
            <a:ext cx="723804" cy="365210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lang="de-DE" sz="8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E4CD1D5-A1E4-4F05-BD09-2FF01D6D932F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21" name="Gruppieren 20"/>
          <p:cNvGrpSpPr>
            <a:grpSpLocks noChangeAspect="1"/>
          </p:cNvGrpSpPr>
          <p:nvPr/>
        </p:nvGrpSpPr>
        <p:grpSpPr>
          <a:xfrm>
            <a:off x="10226855" y="230918"/>
            <a:ext cx="1347532" cy="336212"/>
            <a:chOff x="7293451" y="932238"/>
            <a:chExt cx="1587957" cy="396044"/>
          </a:xfrm>
        </p:grpSpPr>
        <p:sp>
          <p:nvSpPr>
            <p:cNvPr id="22" name="AutoShape 45"/>
            <p:cNvSpPr>
              <a:spLocks noChangeAspect="1" noChangeArrowheads="1" noTextEdit="1"/>
            </p:cNvSpPr>
            <p:nvPr/>
          </p:nvSpPr>
          <p:spPr bwMode="auto">
            <a:xfrm>
              <a:off x="7293451" y="932238"/>
              <a:ext cx="1587957" cy="396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3" name="Freeform 47"/>
            <p:cNvSpPr>
              <a:spLocks noEditPoints="1"/>
            </p:cNvSpPr>
            <p:nvPr/>
          </p:nvSpPr>
          <p:spPr bwMode="auto">
            <a:xfrm>
              <a:off x="7293451" y="988996"/>
              <a:ext cx="239224" cy="256882"/>
            </a:xfrm>
            <a:custGeom>
              <a:avLst/>
              <a:gdLst>
                <a:gd name="T0" fmla="*/ 146 w 241"/>
                <a:gd name="T1" fmla="*/ 154 h 259"/>
                <a:gd name="T2" fmla="*/ 91 w 241"/>
                <a:gd name="T3" fmla="*/ 154 h 259"/>
                <a:gd name="T4" fmla="*/ 121 w 241"/>
                <a:gd name="T5" fmla="*/ 59 h 259"/>
                <a:gd name="T6" fmla="*/ 146 w 241"/>
                <a:gd name="T7" fmla="*/ 154 h 259"/>
                <a:gd name="T8" fmla="*/ 63 w 241"/>
                <a:gd name="T9" fmla="*/ 259 h 259"/>
                <a:gd name="T10" fmla="*/ 82 w 241"/>
                <a:gd name="T11" fmla="*/ 196 h 259"/>
                <a:gd name="T12" fmla="*/ 155 w 241"/>
                <a:gd name="T13" fmla="*/ 196 h 259"/>
                <a:gd name="T14" fmla="*/ 173 w 241"/>
                <a:gd name="T15" fmla="*/ 259 h 259"/>
                <a:gd name="T16" fmla="*/ 241 w 241"/>
                <a:gd name="T17" fmla="*/ 259 h 259"/>
                <a:gd name="T18" fmla="*/ 173 w 241"/>
                <a:gd name="T19" fmla="*/ 21 h 259"/>
                <a:gd name="T20" fmla="*/ 146 w 241"/>
                <a:gd name="T21" fmla="*/ 0 h 259"/>
                <a:gd name="T22" fmla="*/ 50 w 241"/>
                <a:gd name="T23" fmla="*/ 0 h 259"/>
                <a:gd name="T24" fmla="*/ 50 w 241"/>
                <a:gd name="T25" fmla="*/ 23 h 259"/>
                <a:gd name="T26" fmla="*/ 58 w 241"/>
                <a:gd name="T27" fmla="*/ 23 h 259"/>
                <a:gd name="T28" fmla="*/ 73 w 241"/>
                <a:gd name="T29" fmla="*/ 35 h 259"/>
                <a:gd name="T30" fmla="*/ 68 w 241"/>
                <a:gd name="T31" fmla="*/ 55 h 259"/>
                <a:gd name="T32" fmla="*/ 0 w 241"/>
                <a:gd name="T33" fmla="*/ 259 h 259"/>
                <a:gd name="T34" fmla="*/ 63 w 241"/>
                <a:gd name="T35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259">
                  <a:moveTo>
                    <a:pt x="146" y="154"/>
                  </a:moveTo>
                  <a:cubicBezTo>
                    <a:pt x="91" y="154"/>
                    <a:pt x="91" y="154"/>
                    <a:pt x="91" y="154"/>
                  </a:cubicBezTo>
                  <a:cubicBezTo>
                    <a:pt x="121" y="59"/>
                    <a:pt x="121" y="59"/>
                    <a:pt x="121" y="59"/>
                  </a:cubicBezTo>
                  <a:lnTo>
                    <a:pt x="146" y="154"/>
                  </a:lnTo>
                  <a:close/>
                  <a:moveTo>
                    <a:pt x="63" y="259"/>
                  </a:moveTo>
                  <a:cubicBezTo>
                    <a:pt x="82" y="196"/>
                    <a:pt x="82" y="196"/>
                    <a:pt x="82" y="196"/>
                  </a:cubicBezTo>
                  <a:cubicBezTo>
                    <a:pt x="155" y="196"/>
                    <a:pt x="155" y="196"/>
                    <a:pt x="155" y="196"/>
                  </a:cubicBezTo>
                  <a:cubicBezTo>
                    <a:pt x="173" y="259"/>
                    <a:pt x="173" y="259"/>
                    <a:pt x="173" y="259"/>
                  </a:cubicBezTo>
                  <a:cubicBezTo>
                    <a:pt x="241" y="259"/>
                    <a:pt x="241" y="259"/>
                    <a:pt x="241" y="259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69" y="7"/>
                    <a:pt x="161" y="0"/>
                    <a:pt x="146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68" y="23"/>
                    <a:pt x="73" y="27"/>
                    <a:pt x="73" y="35"/>
                  </a:cubicBezTo>
                  <a:cubicBezTo>
                    <a:pt x="73" y="40"/>
                    <a:pt x="72" y="44"/>
                    <a:pt x="68" y="55"/>
                  </a:cubicBezTo>
                  <a:cubicBezTo>
                    <a:pt x="0" y="259"/>
                    <a:pt x="0" y="259"/>
                    <a:pt x="0" y="259"/>
                  </a:cubicBezTo>
                  <a:lnTo>
                    <a:pt x="63" y="259"/>
                  </a:lnTo>
                  <a:close/>
                </a:path>
              </a:pathLst>
            </a:custGeom>
            <a:solidFill>
              <a:srgbClr val="003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4" name="Freeform 48"/>
            <p:cNvSpPr>
              <a:spLocks/>
            </p:cNvSpPr>
            <p:nvPr/>
          </p:nvSpPr>
          <p:spPr bwMode="auto">
            <a:xfrm>
              <a:off x="7531834" y="988996"/>
              <a:ext cx="78200" cy="256882"/>
            </a:xfrm>
            <a:custGeom>
              <a:avLst/>
              <a:gdLst>
                <a:gd name="T0" fmla="*/ 79 w 79"/>
                <a:gd name="T1" fmla="*/ 259 h 259"/>
                <a:gd name="T2" fmla="*/ 79 w 79"/>
                <a:gd name="T3" fmla="*/ 20 h 259"/>
                <a:gd name="T4" fmla="*/ 60 w 79"/>
                <a:gd name="T5" fmla="*/ 0 h 259"/>
                <a:gd name="T6" fmla="*/ 0 w 79"/>
                <a:gd name="T7" fmla="*/ 0 h 259"/>
                <a:gd name="T8" fmla="*/ 0 w 79"/>
                <a:gd name="T9" fmla="*/ 23 h 259"/>
                <a:gd name="T10" fmla="*/ 4 w 79"/>
                <a:gd name="T11" fmla="*/ 23 h 259"/>
                <a:gd name="T12" fmla="*/ 19 w 79"/>
                <a:gd name="T13" fmla="*/ 37 h 259"/>
                <a:gd name="T14" fmla="*/ 19 w 79"/>
                <a:gd name="T15" fmla="*/ 259 h 259"/>
                <a:gd name="T16" fmla="*/ 79 w 79"/>
                <a:gd name="T17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259">
                  <a:moveTo>
                    <a:pt x="79" y="259"/>
                  </a:moveTo>
                  <a:cubicBezTo>
                    <a:pt x="79" y="20"/>
                    <a:pt x="79" y="20"/>
                    <a:pt x="79" y="20"/>
                  </a:cubicBezTo>
                  <a:cubicBezTo>
                    <a:pt x="79" y="8"/>
                    <a:pt x="72" y="0"/>
                    <a:pt x="6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14" y="23"/>
                    <a:pt x="19" y="27"/>
                    <a:pt x="19" y="37"/>
                  </a:cubicBezTo>
                  <a:cubicBezTo>
                    <a:pt x="19" y="259"/>
                    <a:pt x="19" y="259"/>
                    <a:pt x="19" y="259"/>
                  </a:cubicBezTo>
                  <a:lnTo>
                    <a:pt x="79" y="259"/>
                  </a:lnTo>
                  <a:close/>
                </a:path>
              </a:pathLst>
            </a:custGeom>
            <a:solidFill>
              <a:srgbClr val="003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5" name="Freeform 49"/>
            <p:cNvSpPr>
              <a:spLocks/>
            </p:cNvSpPr>
            <p:nvPr/>
          </p:nvSpPr>
          <p:spPr bwMode="auto">
            <a:xfrm>
              <a:off x="7634839" y="988996"/>
              <a:ext cx="78620" cy="256882"/>
            </a:xfrm>
            <a:custGeom>
              <a:avLst/>
              <a:gdLst>
                <a:gd name="T0" fmla="*/ 79 w 79"/>
                <a:gd name="T1" fmla="*/ 259 h 259"/>
                <a:gd name="T2" fmla="*/ 79 w 79"/>
                <a:gd name="T3" fmla="*/ 20 h 259"/>
                <a:gd name="T4" fmla="*/ 59 w 79"/>
                <a:gd name="T5" fmla="*/ 0 h 259"/>
                <a:gd name="T6" fmla="*/ 0 w 79"/>
                <a:gd name="T7" fmla="*/ 0 h 259"/>
                <a:gd name="T8" fmla="*/ 0 w 79"/>
                <a:gd name="T9" fmla="*/ 23 h 259"/>
                <a:gd name="T10" fmla="*/ 4 w 79"/>
                <a:gd name="T11" fmla="*/ 23 h 259"/>
                <a:gd name="T12" fmla="*/ 18 w 79"/>
                <a:gd name="T13" fmla="*/ 37 h 259"/>
                <a:gd name="T14" fmla="*/ 18 w 79"/>
                <a:gd name="T15" fmla="*/ 259 h 259"/>
                <a:gd name="T16" fmla="*/ 79 w 79"/>
                <a:gd name="T17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259">
                  <a:moveTo>
                    <a:pt x="79" y="259"/>
                  </a:moveTo>
                  <a:cubicBezTo>
                    <a:pt x="79" y="20"/>
                    <a:pt x="79" y="20"/>
                    <a:pt x="79" y="20"/>
                  </a:cubicBezTo>
                  <a:cubicBezTo>
                    <a:pt x="79" y="8"/>
                    <a:pt x="71" y="0"/>
                    <a:pt x="5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14" y="23"/>
                    <a:pt x="18" y="27"/>
                    <a:pt x="18" y="37"/>
                  </a:cubicBezTo>
                  <a:cubicBezTo>
                    <a:pt x="18" y="259"/>
                    <a:pt x="18" y="259"/>
                    <a:pt x="18" y="259"/>
                  </a:cubicBezTo>
                  <a:lnTo>
                    <a:pt x="79" y="259"/>
                  </a:lnTo>
                  <a:close/>
                </a:path>
              </a:pathLst>
            </a:custGeom>
            <a:solidFill>
              <a:srgbClr val="003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6" name="Freeform 50"/>
            <p:cNvSpPr>
              <a:spLocks noEditPoints="1"/>
            </p:cNvSpPr>
            <p:nvPr/>
          </p:nvSpPr>
          <p:spPr bwMode="auto">
            <a:xfrm>
              <a:off x="7739525" y="984792"/>
              <a:ext cx="79040" cy="261086"/>
            </a:xfrm>
            <a:custGeom>
              <a:avLst/>
              <a:gdLst>
                <a:gd name="T0" fmla="*/ 80 w 80"/>
                <a:gd name="T1" fmla="*/ 28 h 263"/>
                <a:gd name="T2" fmla="*/ 45 w 80"/>
                <a:gd name="T3" fmla="*/ 0 h 263"/>
                <a:gd name="T4" fmla="*/ 10 w 80"/>
                <a:gd name="T5" fmla="*/ 28 h 263"/>
                <a:gd name="T6" fmla="*/ 45 w 80"/>
                <a:gd name="T7" fmla="*/ 56 h 263"/>
                <a:gd name="T8" fmla="*/ 80 w 80"/>
                <a:gd name="T9" fmla="*/ 28 h 263"/>
                <a:gd name="T10" fmla="*/ 79 w 80"/>
                <a:gd name="T11" fmla="*/ 263 h 263"/>
                <a:gd name="T12" fmla="*/ 79 w 80"/>
                <a:gd name="T13" fmla="*/ 89 h 263"/>
                <a:gd name="T14" fmla="*/ 59 w 80"/>
                <a:gd name="T15" fmla="*/ 69 h 263"/>
                <a:gd name="T16" fmla="*/ 0 w 80"/>
                <a:gd name="T17" fmla="*/ 69 h 263"/>
                <a:gd name="T18" fmla="*/ 0 w 80"/>
                <a:gd name="T19" fmla="*/ 91 h 263"/>
                <a:gd name="T20" fmla="*/ 4 w 80"/>
                <a:gd name="T21" fmla="*/ 91 h 263"/>
                <a:gd name="T22" fmla="*/ 18 w 80"/>
                <a:gd name="T23" fmla="*/ 106 h 263"/>
                <a:gd name="T24" fmla="*/ 18 w 80"/>
                <a:gd name="T25" fmla="*/ 263 h 263"/>
                <a:gd name="T26" fmla="*/ 79 w 80"/>
                <a:gd name="T2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0" h="263">
                  <a:moveTo>
                    <a:pt x="80" y="28"/>
                  </a:moveTo>
                  <a:cubicBezTo>
                    <a:pt x="80" y="11"/>
                    <a:pt x="67" y="0"/>
                    <a:pt x="45" y="0"/>
                  </a:cubicBezTo>
                  <a:cubicBezTo>
                    <a:pt x="23" y="0"/>
                    <a:pt x="10" y="11"/>
                    <a:pt x="10" y="28"/>
                  </a:cubicBezTo>
                  <a:cubicBezTo>
                    <a:pt x="10" y="46"/>
                    <a:pt x="23" y="56"/>
                    <a:pt x="45" y="56"/>
                  </a:cubicBezTo>
                  <a:cubicBezTo>
                    <a:pt x="67" y="56"/>
                    <a:pt x="80" y="46"/>
                    <a:pt x="80" y="28"/>
                  </a:cubicBezTo>
                  <a:moveTo>
                    <a:pt x="79" y="263"/>
                  </a:moveTo>
                  <a:cubicBezTo>
                    <a:pt x="79" y="89"/>
                    <a:pt x="79" y="89"/>
                    <a:pt x="79" y="89"/>
                  </a:cubicBezTo>
                  <a:cubicBezTo>
                    <a:pt x="79" y="76"/>
                    <a:pt x="71" y="69"/>
                    <a:pt x="59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14" y="91"/>
                    <a:pt x="18" y="96"/>
                    <a:pt x="18" y="106"/>
                  </a:cubicBezTo>
                  <a:cubicBezTo>
                    <a:pt x="18" y="263"/>
                    <a:pt x="18" y="263"/>
                    <a:pt x="18" y="263"/>
                  </a:cubicBezTo>
                  <a:lnTo>
                    <a:pt x="79" y="263"/>
                  </a:lnTo>
                  <a:close/>
                </a:path>
              </a:pathLst>
            </a:custGeom>
            <a:solidFill>
              <a:srgbClr val="003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7" name="Freeform 51"/>
            <p:cNvSpPr>
              <a:spLocks noEditPoints="1"/>
            </p:cNvSpPr>
            <p:nvPr/>
          </p:nvSpPr>
          <p:spPr bwMode="auto">
            <a:xfrm>
              <a:off x="7844632" y="1050379"/>
              <a:ext cx="179523" cy="197602"/>
            </a:xfrm>
            <a:custGeom>
              <a:avLst/>
              <a:gdLst>
                <a:gd name="T0" fmla="*/ 106 w 181"/>
                <a:gd name="T1" fmla="*/ 104 h 199"/>
                <a:gd name="T2" fmla="*/ 106 w 181"/>
                <a:gd name="T3" fmla="*/ 141 h 199"/>
                <a:gd name="T4" fmla="*/ 73 w 181"/>
                <a:gd name="T5" fmla="*/ 158 h 199"/>
                <a:gd name="T6" fmla="*/ 58 w 181"/>
                <a:gd name="T7" fmla="*/ 138 h 199"/>
                <a:gd name="T8" fmla="*/ 72 w 181"/>
                <a:gd name="T9" fmla="*/ 113 h 199"/>
                <a:gd name="T10" fmla="*/ 106 w 181"/>
                <a:gd name="T11" fmla="*/ 104 h 199"/>
                <a:gd name="T12" fmla="*/ 24 w 181"/>
                <a:gd name="T13" fmla="*/ 59 h 199"/>
                <a:gd name="T14" fmla="*/ 84 w 181"/>
                <a:gd name="T15" fmla="*/ 43 h 199"/>
                <a:gd name="T16" fmla="*/ 106 w 181"/>
                <a:gd name="T17" fmla="*/ 66 h 199"/>
                <a:gd name="T18" fmla="*/ 106 w 181"/>
                <a:gd name="T19" fmla="*/ 70 h 199"/>
                <a:gd name="T20" fmla="*/ 59 w 181"/>
                <a:gd name="T21" fmla="*/ 79 h 199"/>
                <a:gd name="T22" fmla="*/ 36 w 181"/>
                <a:gd name="T23" fmla="*/ 86 h 199"/>
                <a:gd name="T24" fmla="*/ 0 w 181"/>
                <a:gd name="T25" fmla="*/ 144 h 199"/>
                <a:gd name="T26" fmla="*/ 49 w 181"/>
                <a:gd name="T27" fmla="*/ 199 h 199"/>
                <a:gd name="T28" fmla="*/ 82 w 181"/>
                <a:gd name="T29" fmla="*/ 193 h 199"/>
                <a:gd name="T30" fmla="*/ 108 w 181"/>
                <a:gd name="T31" fmla="*/ 176 h 199"/>
                <a:gd name="T32" fmla="*/ 108 w 181"/>
                <a:gd name="T33" fmla="*/ 179 h 199"/>
                <a:gd name="T34" fmla="*/ 126 w 181"/>
                <a:gd name="T35" fmla="*/ 197 h 199"/>
                <a:gd name="T36" fmla="*/ 181 w 181"/>
                <a:gd name="T37" fmla="*/ 197 h 199"/>
                <a:gd name="T38" fmla="*/ 181 w 181"/>
                <a:gd name="T39" fmla="*/ 176 h 199"/>
                <a:gd name="T40" fmla="*/ 179 w 181"/>
                <a:gd name="T41" fmla="*/ 176 h 199"/>
                <a:gd name="T42" fmla="*/ 164 w 181"/>
                <a:gd name="T43" fmla="*/ 159 h 199"/>
                <a:gd name="T44" fmla="*/ 164 w 181"/>
                <a:gd name="T45" fmla="*/ 67 h 199"/>
                <a:gd name="T46" fmla="*/ 98 w 181"/>
                <a:gd name="T47" fmla="*/ 0 h 199"/>
                <a:gd name="T48" fmla="*/ 52 w 181"/>
                <a:gd name="T49" fmla="*/ 6 h 199"/>
                <a:gd name="T50" fmla="*/ 11 w 181"/>
                <a:gd name="T51" fmla="*/ 21 h 199"/>
                <a:gd name="T52" fmla="*/ 24 w 181"/>
                <a:gd name="T53" fmla="*/ 5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1" h="199">
                  <a:moveTo>
                    <a:pt x="106" y="104"/>
                  </a:moveTo>
                  <a:cubicBezTo>
                    <a:pt x="106" y="141"/>
                    <a:pt x="106" y="141"/>
                    <a:pt x="106" y="141"/>
                  </a:cubicBezTo>
                  <a:cubicBezTo>
                    <a:pt x="96" y="152"/>
                    <a:pt x="83" y="158"/>
                    <a:pt x="73" y="158"/>
                  </a:cubicBezTo>
                  <a:cubicBezTo>
                    <a:pt x="62" y="158"/>
                    <a:pt x="58" y="153"/>
                    <a:pt x="58" y="138"/>
                  </a:cubicBezTo>
                  <a:cubicBezTo>
                    <a:pt x="58" y="124"/>
                    <a:pt x="61" y="117"/>
                    <a:pt x="72" y="113"/>
                  </a:cubicBezTo>
                  <a:cubicBezTo>
                    <a:pt x="80" y="110"/>
                    <a:pt x="91" y="107"/>
                    <a:pt x="106" y="104"/>
                  </a:cubicBezTo>
                  <a:moveTo>
                    <a:pt x="24" y="59"/>
                  </a:moveTo>
                  <a:cubicBezTo>
                    <a:pt x="44" y="49"/>
                    <a:pt x="66" y="43"/>
                    <a:pt x="84" y="43"/>
                  </a:cubicBezTo>
                  <a:cubicBezTo>
                    <a:pt x="100" y="43"/>
                    <a:pt x="106" y="49"/>
                    <a:pt x="106" y="66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81" y="74"/>
                    <a:pt x="73" y="76"/>
                    <a:pt x="59" y="79"/>
                  </a:cubicBezTo>
                  <a:cubicBezTo>
                    <a:pt x="51" y="81"/>
                    <a:pt x="44" y="83"/>
                    <a:pt x="36" y="86"/>
                  </a:cubicBezTo>
                  <a:cubicBezTo>
                    <a:pt x="12" y="96"/>
                    <a:pt x="0" y="115"/>
                    <a:pt x="0" y="144"/>
                  </a:cubicBezTo>
                  <a:cubicBezTo>
                    <a:pt x="0" y="181"/>
                    <a:pt x="16" y="199"/>
                    <a:pt x="49" y="199"/>
                  </a:cubicBezTo>
                  <a:cubicBezTo>
                    <a:pt x="61" y="199"/>
                    <a:pt x="72" y="196"/>
                    <a:pt x="82" y="193"/>
                  </a:cubicBezTo>
                  <a:cubicBezTo>
                    <a:pt x="90" y="189"/>
                    <a:pt x="95" y="186"/>
                    <a:pt x="108" y="176"/>
                  </a:cubicBezTo>
                  <a:cubicBezTo>
                    <a:pt x="108" y="179"/>
                    <a:pt x="108" y="179"/>
                    <a:pt x="108" y="179"/>
                  </a:cubicBezTo>
                  <a:cubicBezTo>
                    <a:pt x="108" y="191"/>
                    <a:pt x="114" y="197"/>
                    <a:pt x="126" y="197"/>
                  </a:cubicBezTo>
                  <a:cubicBezTo>
                    <a:pt x="181" y="197"/>
                    <a:pt x="181" y="197"/>
                    <a:pt x="181" y="197"/>
                  </a:cubicBezTo>
                  <a:cubicBezTo>
                    <a:pt x="181" y="176"/>
                    <a:pt x="181" y="176"/>
                    <a:pt x="181" y="176"/>
                  </a:cubicBezTo>
                  <a:cubicBezTo>
                    <a:pt x="179" y="176"/>
                    <a:pt x="179" y="176"/>
                    <a:pt x="179" y="176"/>
                  </a:cubicBezTo>
                  <a:cubicBezTo>
                    <a:pt x="168" y="176"/>
                    <a:pt x="164" y="171"/>
                    <a:pt x="164" y="159"/>
                  </a:cubicBezTo>
                  <a:cubicBezTo>
                    <a:pt x="164" y="67"/>
                    <a:pt x="164" y="67"/>
                    <a:pt x="164" y="67"/>
                  </a:cubicBezTo>
                  <a:cubicBezTo>
                    <a:pt x="164" y="17"/>
                    <a:pt x="147" y="0"/>
                    <a:pt x="98" y="0"/>
                  </a:cubicBezTo>
                  <a:cubicBezTo>
                    <a:pt x="82" y="0"/>
                    <a:pt x="67" y="2"/>
                    <a:pt x="52" y="6"/>
                  </a:cubicBezTo>
                  <a:cubicBezTo>
                    <a:pt x="36" y="9"/>
                    <a:pt x="29" y="12"/>
                    <a:pt x="11" y="21"/>
                  </a:cubicBezTo>
                  <a:lnTo>
                    <a:pt x="24" y="59"/>
                  </a:lnTo>
                  <a:close/>
                </a:path>
              </a:pathLst>
            </a:custGeom>
            <a:solidFill>
              <a:srgbClr val="003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8" name="Freeform 52"/>
            <p:cNvSpPr>
              <a:spLocks/>
            </p:cNvSpPr>
            <p:nvPr/>
          </p:nvSpPr>
          <p:spPr bwMode="auto">
            <a:xfrm>
              <a:off x="8034245" y="1051219"/>
              <a:ext cx="185829" cy="194659"/>
            </a:xfrm>
            <a:custGeom>
              <a:avLst/>
              <a:gdLst>
                <a:gd name="T0" fmla="*/ 79 w 187"/>
                <a:gd name="T1" fmla="*/ 196 h 196"/>
                <a:gd name="T2" fmla="*/ 79 w 187"/>
                <a:gd name="T3" fmla="*/ 65 h 196"/>
                <a:gd name="T4" fmla="*/ 111 w 187"/>
                <a:gd name="T5" fmla="*/ 49 h 196"/>
                <a:gd name="T6" fmla="*/ 127 w 187"/>
                <a:gd name="T7" fmla="*/ 73 h 196"/>
                <a:gd name="T8" fmla="*/ 127 w 187"/>
                <a:gd name="T9" fmla="*/ 196 h 196"/>
                <a:gd name="T10" fmla="*/ 187 w 187"/>
                <a:gd name="T11" fmla="*/ 196 h 196"/>
                <a:gd name="T12" fmla="*/ 187 w 187"/>
                <a:gd name="T13" fmla="*/ 64 h 196"/>
                <a:gd name="T14" fmla="*/ 175 w 187"/>
                <a:gd name="T15" fmla="*/ 13 h 196"/>
                <a:gd name="T16" fmla="*/ 139 w 187"/>
                <a:gd name="T17" fmla="*/ 0 h 196"/>
                <a:gd name="T18" fmla="*/ 76 w 187"/>
                <a:gd name="T19" fmla="*/ 28 h 196"/>
                <a:gd name="T20" fmla="*/ 76 w 187"/>
                <a:gd name="T21" fmla="*/ 20 h 196"/>
                <a:gd name="T22" fmla="*/ 58 w 187"/>
                <a:gd name="T23" fmla="*/ 2 h 196"/>
                <a:gd name="T24" fmla="*/ 0 w 187"/>
                <a:gd name="T25" fmla="*/ 2 h 196"/>
                <a:gd name="T26" fmla="*/ 0 w 187"/>
                <a:gd name="T27" fmla="*/ 24 h 196"/>
                <a:gd name="T28" fmla="*/ 4 w 187"/>
                <a:gd name="T29" fmla="*/ 24 h 196"/>
                <a:gd name="T30" fmla="*/ 18 w 187"/>
                <a:gd name="T31" fmla="*/ 39 h 196"/>
                <a:gd name="T32" fmla="*/ 18 w 187"/>
                <a:gd name="T33" fmla="*/ 196 h 196"/>
                <a:gd name="T34" fmla="*/ 79 w 187"/>
                <a:gd name="T35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196">
                  <a:moveTo>
                    <a:pt x="79" y="196"/>
                  </a:moveTo>
                  <a:cubicBezTo>
                    <a:pt x="79" y="65"/>
                    <a:pt x="79" y="65"/>
                    <a:pt x="79" y="65"/>
                  </a:cubicBezTo>
                  <a:cubicBezTo>
                    <a:pt x="89" y="54"/>
                    <a:pt x="99" y="49"/>
                    <a:pt x="111" y="49"/>
                  </a:cubicBezTo>
                  <a:cubicBezTo>
                    <a:pt x="124" y="49"/>
                    <a:pt x="127" y="54"/>
                    <a:pt x="127" y="73"/>
                  </a:cubicBezTo>
                  <a:cubicBezTo>
                    <a:pt x="127" y="196"/>
                    <a:pt x="127" y="196"/>
                    <a:pt x="127" y="196"/>
                  </a:cubicBezTo>
                  <a:cubicBezTo>
                    <a:pt x="187" y="196"/>
                    <a:pt x="187" y="196"/>
                    <a:pt x="187" y="196"/>
                  </a:cubicBezTo>
                  <a:cubicBezTo>
                    <a:pt x="187" y="64"/>
                    <a:pt x="187" y="64"/>
                    <a:pt x="187" y="64"/>
                  </a:cubicBezTo>
                  <a:cubicBezTo>
                    <a:pt x="187" y="33"/>
                    <a:pt x="185" y="24"/>
                    <a:pt x="175" y="13"/>
                  </a:cubicBezTo>
                  <a:cubicBezTo>
                    <a:pt x="167" y="4"/>
                    <a:pt x="155" y="0"/>
                    <a:pt x="139" y="0"/>
                  </a:cubicBezTo>
                  <a:cubicBezTo>
                    <a:pt x="115" y="0"/>
                    <a:pt x="99" y="7"/>
                    <a:pt x="76" y="28"/>
                  </a:cubicBezTo>
                  <a:cubicBezTo>
                    <a:pt x="76" y="20"/>
                    <a:pt x="76" y="20"/>
                    <a:pt x="76" y="20"/>
                  </a:cubicBezTo>
                  <a:cubicBezTo>
                    <a:pt x="76" y="8"/>
                    <a:pt x="70" y="2"/>
                    <a:pt x="58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4" y="24"/>
                    <a:pt x="18" y="29"/>
                    <a:pt x="18" y="39"/>
                  </a:cubicBezTo>
                  <a:cubicBezTo>
                    <a:pt x="18" y="196"/>
                    <a:pt x="18" y="196"/>
                    <a:pt x="18" y="196"/>
                  </a:cubicBezTo>
                  <a:lnTo>
                    <a:pt x="79" y="196"/>
                  </a:lnTo>
                  <a:close/>
                </a:path>
              </a:pathLst>
            </a:custGeom>
            <a:solidFill>
              <a:srgbClr val="003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Freeform 53"/>
            <p:cNvSpPr>
              <a:spLocks/>
            </p:cNvSpPr>
            <p:nvPr/>
          </p:nvSpPr>
          <p:spPr bwMode="auto">
            <a:xfrm>
              <a:off x="8246982" y="1053322"/>
              <a:ext cx="151775" cy="192556"/>
            </a:xfrm>
            <a:custGeom>
              <a:avLst/>
              <a:gdLst>
                <a:gd name="T0" fmla="*/ 153 w 153"/>
                <a:gd name="T1" fmla="*/ 153 h 194"/>
                <a:gd name="T2" fmla="*/ 68 w 153"/>
                <a:gd name="T3" fmla="*/ 153 h 194"/>
                <a:gd name="T4" fmla="*/ 149 w 153"/>
                <a:gd name="T5" fmla="*/ 40 h 194"/>
                <a:gd name="T6" fmla="*/ 149 w 153"/>
                <a:gd name="T7" fmla="*/ 0 h 194"/>
                <a:gd name="T8" fmla="*/ 23 w 153"/>
                <a:gd name="T9" fmla="*/ 0 h 194"/>
                <a:gd name="T10" fmla="*/ 2 w 153"/>
                <a:gd name="T11" fmla="*/ 21 h 194"/>
                <a:gd name="T12" fmla="*/ 2 w 153"/>
                <a:gd name="T13" fmla="*/ 56 h 194"/>
                <a:gd name="T14" fmla="*/ 24 w 153"/>
                <a:gd name="T15" fmla="*/ 56 h 194"/>
                <a:gd name="T16" fmla="*/ 24 w 153"/>
                <a:gd name="T17" fmla="*/ 53 h 194"/>
                <a:gd name="T18" fmla="*/ 38 w 153"/>
                <a:gd name="T19" fmla="*/ 40 h 194"/>
                <a:gd name="T20" fmla="*/ 82 w 153"/>
                <a:gd name="T21" fmla="*/ 40 h 194"/>
                <a:gd name="T22" fmla="*/ 0 w 153"/>
                <a:gd name="T23" fmla="*/ 154 h 194"/>
                <a:gd name="T24" fmla="*/ 0 w 153"/>
                <a:gd name="T25" fmla="*/ 194 h 194"/>
                <a:gd name="T26" fmla="*/ 153 w 153"/>
                <a:gd name="T27" fmla="*/ 194 h 194"/>
                <a:gd name="T28" fmla="*/ 153 w 153"/>
                <a:gd name="T29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3" h="194">
                  <a:moveTo>
                    <a:pt x="153" y="153"/>
                  </a:moveTo>
                  <a:cubicBezTo>
                    <a:pt x="68" y="153"/>
                    <a:pt x="68" y="153"/>
                    <a:pt x="68" y="153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8" y="0"/>
                    <a:pt x="2" y="7"/>
                    <a:pt x="2" y="21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44"/>
                    <a:pt x="29" y="40"/>
                    <a:pt x="38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153" y="194"/>
                    <a:pt x="153" y="194"/>
                    <a:pt x="153" y="194"/>
                  </a:cubicBezTo>
                  <a:lnTo>
                    <a:pt x="153" y="153"/>
                  </a:lnTo>
                  <a:close/>
                </a:path>
              </a:pathLst>
            </a:custGeom>
            <a:solidFill>
              <a:srgbClr val="003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Freeform 54"/>
            <p:cNvSpPr>
              <a:spLocks noEditPoints="1"/>
            </p:cNvSpPr>
            <p:nvPr/>
          </p:nvSpPr>
          <p:spPr bwMode="auto">
            <a:xfrm>
              <a:off x="8488308" y="933079"/>
              <a:ext cx="393100" cy="394362"/>
            </a:xfrm>
            <a:custGeom>
              <a:avLst/>
              <a:gdLst>
                <a:gd name="T0" fmla="*/ 227 w 396"/>
                <a:gd name="T1" fmla="*/ 310 h 397"/>
                <a:gd name="T2" fmla="*/ 227 w 396"/>
                <a:gd name="T3" fmla="*/ 91 h 397"/>
                <a:gd name="T4" fmla="*/ 204 w 396"/>
                <a:gd name="T5" fmla="*/ 68 h 397"/>
                <a:gd name="T6" fmla="*/ 152 w 396"/>
                <a:gd name="T7" fmla="*/ 68 h 397"/>
                <a:gd name="T8" fmla="*/ 152 w 396"/>
                <a:gd name="T9" fmla="*/ 92 h 397"/>
                <a:gd name="T10" fmla="*/ 155 w 396"/>
                <a:gd name="T11" fmla="*/ 92 h 397"/>
                <a:gd name="T12" fmla="*/ 169 w 396"/>
                <a:gd name="T13" fmla="*/ 109 h 397"/>
                <a:gd name="T14" fmla="*/ 169 w 396"/>
                <a:gd name="T15" fmla="*/ 310 h 397"/>
                <a:gd name="T16" fmla="*/ 227 w 396"/>
                <a:gd name="T17" fmla="*/ 310 h 397"/>
                <a:gd name="T18" fmla="*/ 252 w 396"/>
                <a:gd name="T19" fmla="*/ 310 h 397"/>
                <a:gd name="T20" fmla="*/ 309 w 396"/>
                <a:gd name="T21" fmla="*/ 310 h 397"/>
                <a:gd name="T22" fmla="*/ 309 w 396"/>
                <a:gd name="T23" fmla="*/ 139 h 397"/>
                <a:gd name="T24" fmla="*/ 286 w 396"/>
                <a:gd name="T25" fmla="*/ 116 h 397"/>
                <a:gd name="T26" fmla="*/ 252 w 396"/>
                <a:gd name="T27" fmla="*/ 116 h 397"/>
                <a:gd name="T28" fmla="*/ 252 w 396"/>
                <a:gd name="T29" fmla="*/ 310 h 397"/>
                <a:gd name="T30" fmla="*/ 144 w 396"/>
                <a:gd name="T31" fmla="*/ 310 h 397"/>
                <a:gd name="T32" fmla="*/ 144 w 396"/>
                <a:gd name="T33" fmla="*/ 116 h 397"/>
                <a:gd name="T34" fmla="*/ 111 w 396"/>
                <a:gd name="T35" fmla="*/ 116 h 397"/>
                <a:gd name="T36" fmla="*/ 87 w 396"/>
                <a:gd name="T37" fmla="*/ 139 h 397"/>
                <a:gd name="T38" fmla="*/ 87 w 396"/>
                <a:gd name="T39" fmla="*/ 310 h 397"/>
                <a:gd name="T40" fmla="*/ 144 w 396"/>
                <a:gd name="T41" fmla="*/ 310 h 397"/>
                <a:gd name="T42" fmla="*/ 363 w 396"/>
                <a:gd name="T43" fmla="*/ 199 h 397"/>
                <a:gd name="T44" fmla="*/ 198 w 396"/>
                <a:gd name="T45" fmla="*/ 365 h 397"/>
                <a:gd name="T46" fmla="*/ 33 w 396"/>
                <a:gd name="T47" fmla="*/ 199 h 397"/>
                <a:gd name="T48" fmla="*/ 198 w 396"/>
                <a:gd name="T49" fmla="*/ 32 h 397"/>
                <a:gd name="T50" fmla="*/ 363 w 396"/>
                <a:gd name="T51" fmla="*/ 199 h 397"/>
                <a:gd name="T52" fmla="*/ 396 w 396"/>
                <a:gd name="T53" fmla="*/ 199 h 397"/>
                <a:gd name="T54" fmla="*/ 198 w 396"/>
                <a:gd name="T55" fmla="*/ 0 h 397"/>
                <a:gd name="T56" fmla="*/ 0 w 396"/>
                <a:gd name="T57" fmla="*/ 199 h 397"/>
                <a:gd name="T58" fmla="*/ 198 w 396"/>
                <a:gd name="T59" fmla="*/ 397 h 397"/>
                <a:gd name="T60" fmla="*/ 396 w 396"/>
                <a:gd name="T61" fmla="*/ 19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96" h="397">
                  <a:moveTo>
                    <a:pt x="227" y="310"/>
                  </a:moveTo>
                  <a:cubicBezTo>
                    <a:pt x="227" y="91"/>
                    <a:pt x="227" y="91"/>
                    <a:pt x="227" y="91"/>
                  </a:cubicBezTo>
                  <a:cubicBezTo>
                    <a:pt x="227" y="73"/>
                    <a:pt x="220" y="68"/>
                    <a:pt x="204" y="68"/>
                  </a:cubicBezTo>
                  <a:cubicBezTo>
                    <a:pt x="152" y="68"/>
                    <a:pt x="152" y="68"/>
                    <a:pt x="152" y="68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5" y="92"/>
                    <a:pt x="155" y="92"/>
                    <a:pt x="155" y="92"/>
                  </a:cubicBezTo>
                  <a:cubicBezTo>
                    <a:pt x="167" y="92"/>
                    <a:pt x="169" y="95"/>
                    <a:pt x="169" y="109"/>
                  </a:cubicBezTo>
                  <a:cubicBezTo>
                    <a:pt x="169" y="310"/>
                    <a:pt x="169" y="310"/>
                    <a:pt x="169" y="310"/>
                  </a:cubicBezTo>
                  <a:lnTo>
                    <a:pt x="227" y="310"/>
                  </a:lnTo>
                  <a:close/>
                  <a:moveTo>
                    <a:pt x="252" y="310"/>
                  </a:moveTo>
                  <a:cubicBezTo>
                    <a:pt x="309" y="310"/>
                    <a:pt x="309" y="310"/>
                    <a:pt x="309" y="310"/>
                  </a:cubicBezTo>
                  <a:cubicBezTo>
                    <a:pt x="309" y="139"/>
                    <a:pt x="309" y="139"/>
                    <a:pt x="309" y="139"/>
                  </a:cubicBezTo>
                  <a:cubicBezTo>
                    <a:pt x="309" y="122"/>
                    <a:pt x="302" y="116"/>
                    <a:pt x="286" y="116"/>
                  </a:cubicBezTo>
                  <a:cubicBezTo>
                    <a:pt x="252" y="116"/>
                    <a:pt x="252" y="116"/>
                    <a:pt x="252" y="116"/>
                  </a:cubicBezTo>
                  <a:lnTo>
                    <a:pt x="252" y="310"/>
                  </a:lnTo>
                  <a:close/>
                  <a:moveTo>
                    <a:pt x="144" y="310"/>
                  </a:moveTo>
                  <a:cubicBezTo>
                    <a:pt x="144" y="116"/>
                    <a:pt x="144" y="116"/>
                    <a:pt x="144" y="116"/>
                  </a:cubicBezTo>
                  <a:cubicBezTo>
                    <a:pt x="111" y="116"/>
                    <a:pt x="111" y="116"/>
                    <a:pt x="111" y="116"/>
                  </a:cubicBezTo>
                  <a:cubicBezTo>
                    <a:pt x="94" y="116"/>
                    <a:pt x="87" y="122"/>
                    <a:pt x="87" y="139"/>
                  </a:cubicBezTo>
                  <a:cubicBezTo>
                    <a:pt x="87" y="310"/>
                    <a:pt x="87" y="310"/>
                    <a:pt x="87" y="310"/>
                  </a:cubicBezTo>
                  <a:lnTo>
                    <a:pt x="144" y="310"/>
                  </a:lnTo>
                  <a:close/>
                  <a:moveTo>
                    <a:pt x="363" y="199"/>
                  </a:moveTo>
                  <a:cubicBezTo>
                    <a:pt x="363" y="295"/>
                    <a:pt x="293" y="365"/>
                    <a:pt x="198" y="365"/>
                  </a:cubicBezTo>
                  <a:cubicBezTo>
                    <a:pt x="103" y="365"/>
                    <a:pt x="33" y="295"/>
                    <a:pt x="33" y="199"/>
                  </a:cubicBezTo>
                  <a:cubicBezTo>
                    <a:pt x="33" y="102"/>
                    <a:pt x="103" y="32"/>
                    <a:pt x="198" y="32"/>
                  </a:cubicBezTo>
                  <a:cubicBezTo>
                    <a:pt x="293" y="32"/>
                    <a:pt x="363" y="103"/>
                    <a:pt x="363" y="199"/>
                  </a:cubicBezTo>
                  <a:moveTo>
                    <a:pt x="396" y="199"/>
                  </a:moveTo>
                  <a:cubicBezTo>
                    <a:pt x="396" y="85"/>
                    <a:pt x="312" y="0"/>
                    <a:pt x="198" y="0"/>
                  </a:cubicBezTo>
                  <a:cubicBezTo>
                    <a:pt x="85" y="0"/>
                    <a:pt x="0" y="85"/>
                    <a:pt x="0" y="199"/>
                  </a:cubicBezTo>
                  <a:cubicBezTo>
                    <a:pt x="0" y="312"/>
                    <a:pt x="85" y="397"/>
                    <a:pt x="198" y="397"/>
                  </a:cubicBezTo>
                  <a:cubicBezTo>
                    <a:pt x="312" y="397"/>
                    <a:pt x="396" y="312"/>
                    <a:pt x="396" y="199"/>
                  </a:cubicBezTo>
                </a:path>
              </a:pathLst>
            </a:custGeom>
            <a:solidFill>
              <a:srgbClr val="0037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  <p:sp>
        <p:nvSpPr>
          <p:cNvPr id="8" name="MSIPCMContentMarking" descr="{&quot;HashCode&quot;:417909460,&quot;Placement&quot;:&quot;Header&quot;,&quot;Top&quot;:0.0,&quot;Left&quot;:453.232849,&quot;SlideWidth&quot;:959,&quot;SlideHeight&quot;:540}"/>
          <p:cNvSpPr txBox="1"/>
          <p:nvPr userDrawn="1"/>
        </p:nvSpPr>
        <p:spPr>
          <a:xfrm>
            <a:off x="5756057" y="0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</p:sldLayoutIdLst>
  <p:hf hdr="0" dt="0"/>
  <p:txStyles>
    <p:titleStyle>
      <a:lvl1pPr algn="l" defTabSz="1045842" rtl="0" eaLnBrk="1" fontAlgn="base" hangingPunct="1">
        <a:spcBef>
          <a:spcPct val="0"/>
        </a:spcBef>
        <a:spcAft>
          <a:spcPct val="30000"/>
        </a:spcAft>
        <a:defRPr sz="2200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045842" rtl="0" eaLnBrk="1" fontAlgn="base" hangingPunct="1">
        <a:spcBef>
          <a:spcPct val="0"/>
        </a:spcBef>
        <a:spcAft>
          <a:spcPct val="30000"/>
        </a:spcAft>
        <a:defRPr sz="2900">
          <a:solidFill>
            <a:schemeClr val="accent1"/>
          </a:solidFill>
          <a:latin typeface="Arial" pitchFamily="34" charset="0"/>
        </a:defRPr>
      </a:lvl2pPr>
      <a:lvl3pPr algn="l" defTabSz="1045842" rtl="0" eaLnBrk="1" fontAlgn="base" hangingPunct="1">
        <a:spcBef>
          <a:spcPct val="0"/>
        </a:spcBef>
        <a:spcAft>
          <a:spcPct val="30000"/>
        </a:spcAft>
        <a:defRPr sz="2900">
          <a:solidFill>
            <a:schemeClr val="accent1"/>
          </a:solidFill>
          <a:latin typeface="Arial" pitchFamily="34" charset="0"/>
        </a:defRPr>
      </a:lvl3pPr>
      <a:lvl4pPr algn="l" defTabSz="1045842" rtl="0" eaLnBrk="1" fontAlgn="base" hangingPunct="1">
        <a:spcBef>
          <a:spcPct val="0"/>
        </a:spcBef>
        <a:spcAft>
          <a:spcPct val="30000"/>
        </a:spcAft>
        <a:defRPr sz="2900">
          <a:solidFill>
            <a:schemeClr val="accent1"/>
          </a:solidFill>
          <a:latin typeface="Arial" pitchFamily="34" charset="0"/>
        </a:defRPr>
      </a:lvl4pPr>
      <a:lvl5pPr algn="l" defTabSz="1045842" rtl="0" eaLnBrk="1" fontAlgn="base" hangingPunct="1">
        <a:spcBef>
          <a:spcPct val="0"/>
        </a:spcBef>
        <a:spcAft>
          <a:spcPct val="30000"/>
        </a:spcAft>
        <a:defRPr sz="2900">
          <a:solidFill>
            <a:schemeClr val="accent1"/>
          </a:solidFill>
          <a:latin typeface="Arial" pitchFamily="34" charset="0"/>
        </a:defRPr>
      </a:lvl5pPr>
      <a:lvl6pPr marL="609722" algn="l" defTabSz="1045842" rtl="0" eaLnBrk="1" fontAlgn="base" hangingPunct="1">
        <a:spcBef>
          <a:spcPct val="0"/>
        </a:spcBef>
        <a:spcAft>
          <a:spcPct val="30000"/>
        </a:spcAft>
        <a:defRPr sz="2900">
          <a:solidFill>
            <a:schemeClr val="accent1"/>
          </a:solidFill>
          <a:latin typeface="Arial" pitchFamily="34" charset="0"/>
        </a:defRPr>
      </a:lvl6pPr>
      <a:lvl7pPr marL="1219444" algn="l" defTabSz="1045842" rtl="0" eaLnBrk="1" fontAlgn="base" hangingPunct="1">
        <a:spcBef>
          <a:spcPct val="0"/>
        </a:spcBef>
        <a:spcAft>
          <a:spcPct val="30000"/>
        </a:spcAft>
        <a:defRPr sz="2900">
          <a:solidFill>
            <a:schemeClr val="accent1"/>
          </a:solidFill>
          <a:latin typeface="Arial" pitchFamily="34" charset="0"/>
        </a:defRPr>
      </a:lvl7pPr>
      <a:lvl8pPr marL="1829166" algn="l" defTabSz="1045842" rtl="0" eaLnBrk="1" fontAlgn="base" hangingPunct="1">
        <a:spcBef>
          <a:spcPct val="0"/>
        </a:spcBef>
        <a:spcAft>
          <a:spcPct val="30000"/>
        </a:spcAft>
        <a:defRPr sz="2900">
          <a:solidFill>
            <a:schemeClr val="accent1"/>
          </a:solidFill>
          <a:latin typeface="Arial" pitchFamily="34" charset="0"/>
        </a:defRPr>
      </a:lvl8pPr>
      <a:lvl9pPr marL="2438888" algn="l" defTabSz="1045842" rtl="0" eaLnBrk="1" fontAlgn="base" hangingPunct="1">
        <a:spcBef>
          <a:spcPct val="0"/>
        </a:spcBef>
        <a:spcAft>
          <a:spcPct val="30000"/>
        </a:spcAft>
        <a:defRPr sz="2900">
          <a:solidFill>
            <a:schemeClr val="accent1"/>
          </a:solidFill>
          <a:latin typeface="Arial" pitchFamily="34" charset="0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ct val="30000"/>
        </a:spcAft>
        <a:tabLst/>
        <a:defRPr sz="1800">
          <a:solidFill>
            <a:schemeClr val="accent1"/>
          </a:solidFill>
          <a:latin typeface="+mn-lt"/>
          <a:ea typeface="+mn-ea"/>
          <a:cs typeface="+mn-cs"/>
        </a:defRPr>
      </a:lvl1pPr>
      <a:lvl2pPr marL="2118" indent="0" algn="l" rtl="0" eaLnBrk="1" fontAlgn="base" hangingPunct="1">
        <a:spcBef>
          <a:spcPct val="0"/>
        </a:spcBef>
        <a:spcAft>
          <a:spcPct val="30000"/>
        </a:spcAft>
        <a:buFont typeface="Wingdings" pitchFamily="2" charset="2"/>
        <a:tabLst/>
        <a:defRPr sz="1800">
          <a:solidFill>
            <a:schemeClr val="tx1"/>
          </a:solidFill>
          <a:latin typeface="+mn-lt"/>
        </a:defRPr>
      </a:lvl2pPr>
      <a:lvl3pPr marL="243466" indent="-239232" algn="l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SzPct val="100000"/>
        <a:buFont typeface="Wingdings" pitchFamily="2" charset="2"/>
        <a:buChar char="§"/>
        <a:tabLst/>
        <a:defRPr sz="1800" b="0">
          <a:solidFill>
            <a:schemeClr val="tx1"/>
          </a:solidFill>
          <a:latin typeface="+mn-lt"/>
        </a:defRPr>
      </a:lvl3pPr>
      <a:lvl4pPr marL="467878" marR="0" indent="-234998" algn="l" defTabSz="1219444" rtl="0" eaLnBrk="1" fontAlgn="base" latinLnBrk="0" hangingPunct="1">
        <a:lnSpc>
          <a:spcPct val="100000"/>
        </a:lnSpc>
        <a:spcBef>
          <a:spcPct val="0"/>
        </a:spcBef>
        <a:spcAft>
          <a:spcPct val="30000"/>
        </a:spcAft>
        <a:buClr>
          <a:schemeClr val="tx1"/>
        </a:buClr>
        <a:buSzPct val="100000"/>
        <a:buFont typeface="Symbol" pitchFamily="18" charset="2"/>
        <a:buChar char="-"/>
        <a:tabLst>
          <a:tab pos="260403" algn="l"/>
        </a:tabLst>
        <a:defRPr sz="1600" b="0" baseline="0">
          <a:solidFill>
            <a:schemeClr val="tx1"/>
          </a:solidFill>
          <a:latin typeface="+mn-lt"/>
        </a:defRPr>
      </a:lvl4pPr>
      <a:lvl5pPr marL="0" marR="0" indent="0" algn="l" defTabSz="1219444" rtl="0" eaLnBrk="1" fontAlgn="base" latinLnBrk="0" hangingPunct="1">
        <a:lnSpc>
          <a:spcPct val="100000"/>
        </a:lnSpc>
        <a:spcBef>
          <a:spcPct val="0"/>
        </a:spcBef>
        <a:spcAft>
          <a:spcPct val="30000"/>
        </a:spcAft>
        <a:buClr>
          <a:schemeClr val="tx2"/>
        </a:buClr>
        <a:buSzTx/>
        <a:buFontTx/>
        <a:buNone/>
        <a:tabLst/>
        <a:defRPr sz="1600" baseline="0">
          <a:solidFill>
            <a:schemeClr val="tx1"/>
          </a:solidFill>
          <a:latin typeface="+mn-lt"/>
        </a:defRPr>
      </a:lvl5pPr>
      <a:lvl6pPr marL="131260" indent="-101620" algn="l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Font typeface="Arial" pitchFamily="34" charset="0"/>
        <a:buChar char="›"/>
        <a:tabLst>
          <a:tab pos="131260" algn="l"/>
        </a:tabLst>
        <a:defRPr sz="1200" b="1" baseline="0">
          <a:solidFill>
            <a:schemeClr val="accent1"/>
          </a:solidFill>
          <a:latin typeface="+mn-lt"/>
        </a:defRPr>
      </a:lvl6pPr>
      <a:lvl7pPr marL="0" indent="0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None/>
        <a:tabLst/>
        <a:defRPr sz="1200">
          <a:solidFill>
            <a:schemeClr val="tx1"/>
          </a:solidFill>
          <a:latin typeface="+mn-lt"/>
        </a:defRPr>
      </a:lvl7pPr>
      <a:lvl8pPr marL="254051" indent="-254051" algn="l" rtl="0" eaLnBrk="1" fontAlgn="base" hangingPunct="1">
        <a:spcBef>
          <a:spcPct val="0"/>
        </a:spcBef>
        <a:spcAft>
          <a:spcPct val="30000"/>
        </a:spcAft>
        <a:buClr>
          <a:schemeClr val="accent1"/>
        </a:buClr>
        <a:buSzPct val="120000"/>
        <a:buFont typeface="Wingdings" pitchFamily="2" charset="2"/>
        <a:buChar char="§"/>
        <a:tabLst>
          <a:tab pos="224412" algn="l"/>
        </a:tabLst>
        <a:defRPr sz="1200" baseline="0">
          <a:solidFill>
            <a:schemeClr val="tx1"/>
          </a:solidFill>
          <a:latin typeface="+mn-lt"/>
        </a:defRPr>
      </a:lvl8pPr>
      <a:lvl9pPr marL="0" indent="0" algn="l" rtl="0" eaLnBrk="1" fontAlgn="base" hangingPunct="1">
        <a:spcBef>
          <a:spcPct val="0"/>
        </a:spcBef>
        <a:spcAft>
          <a:spcPct val="30000"/>
        </a:spcAft>
        <a:buClr>
          <a:schemeClr val="tx2"/>
        </a:buClr>
        <a:buSzPct val="120000"/>
        <a:buFont typeface="Symbol" pitchFamily="18" charset="2"/>
        <a:buNone/>
        <a:tabLst/>
        <a:defRPr sz="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8000" y="444428"/>
            <a:ext cx="9312467" cy="32392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de-DE" noProof="0" dirty="0"/>
              <a:t>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15641" y="6369053"/>
            <a:ext cx="4570710" cy="12534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Name des Dokuments | Abteilung | Verfasser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90264" y="6493951"/>
            <a:ext cx="532722" cy="36563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515640" y="6494402"/>
            <a:ext cx="46699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</a:t>
            </a:r>
            <a:endParaRPr lang="de-DE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8" name="Gerade Verbindung 117"/>
          <p:cNvCxnSpPr/>
          <p:nvPr/>
        </p:nvCxnSpPr>
        <p:spPr>
          <a:xfrm flipH="1">
            <a:off x="-313506" y="1273175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8000" y="1274400"/>
            <a:ext cx="11180969" cy="4831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de-DE" dirty="0"/>
              <a:t>09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2"/>
          </p:nvPr>
        </p:nvSpPr>
        <p:spPr>
          <a:xfrm>
            <a:off x="1007371" y="6494399"/>
            <a:ext cx="2302289" cy="123114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0B76A45-EE22-4916-8337-473E2802E4AE}" type="datetime1">
              <a:rPr lang="de-DE" smtClean="0"/>
              <a:t>18.01.2024</a:t>
            </a:fld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>
          <a:xfrm flipH="1">
            <a:off x="-313506" y="1529080"/>
            <a:ext cx="21602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6095206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>
          <a:xfrm>
            <a:off x="51183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330585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>
            <a:off x="8884945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>
          <a:xfrm>
            <a:off x="11688970" y="-216000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>
            <a:off x="6099016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>
            <a:off x="51564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>
            <a:off x="330966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>
            <a:off x="8888755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>
          <a:xfrm>
            <a:off x="11692780" y="6889988"/>
            <a:ext cx="0" cy="162018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SIPCMContentMarking" descr="{&quot;HashCode&quot;:417909460,&quot;Placement&quot;:&quot;Header&quot;,&quot;Top&quot;:0.0,&quot;Left&quot;:453.232849,&quot;SlideWidth&quot;:959,&quot;SlideHeight&quot;:540}"/>
          <p:cNvSpPr txBox="1"/>
          <p:nvPr userDrawn="1"/>
        </p:nvSpPr>
        <p:spPr>
          <a:xfrm>
            <a:off x="5756057" y="0"/>
            <a:ext cx="678298" cy="262344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de-DE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567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  <p:sldLayoutId id="2147483810" r:id="rId17"/>
    <p:sldLayoutId id="2147483811" r:id="rId18"/>
    <p:sldLayoutId id="2147483812" r:id="rId19"/>
    <p:sldLayoutId id="2147483813" r:id="rId20"/>
    <p:sldLayoutId id="2147483814" r:id="rId21"/>
    <p:sldLayoutId id="2147483815" r:id="rId22"/>
    <p:sldLayoutId id="2147483816" r:id="rId23"/>
    <p:sldLayoutId id="2147483817" r:id="rId24"/>
    <p:sldLayoutId id="2147483818" r:id="rId25"/>
    <p:sldLayoutId id="2147483819" r:id="rId26"/>
    <p:sldLayoutId id="2147483820" r:id="rId27"/>
    <p:sldLayoutId id="2147483821" r:id="rId28"/>
    <p:sldLayoutId id="2147483822" r:id="rId29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sz="30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marR="0" indent="-179388" algn="l" defTabSz="1219170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4013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61" indent="-237061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88" indent="-179388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64" indent="-122764" algn="l" defTabSz="121917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irmenonline.de/freischaltung.htm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4" Type="http://schemas.openxmlformats.org/officeDocument/2006/relationships/hyperlink" Target="https://www.firmenonline.de/freischaltung-vermittler.htm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irmenonline.de/freischaltung-firmenadmin.htm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Relationship Id="rId4" Type="http://schemas.openxmlformats.org/officeDocument/2006/relationships/hyperlink" Target="https://www.firmenonline.de/freischaltung-vermittler.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irmenonline.de/freischaltung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2E10D45F-5F63-B142-8C5B-961D047D26BB}"/>
              </a:ext>
            </a:extLst>
          </p:cNvPr>
          <p:cNvSpPr/>
          <p:nvPr/>
        </p:nvSpPr>
        <p:spPr>
          <a:xfrm>
            <a:off x="0" y="0"/>
            <a:ext cx="12190413" cy="6859588"/>
          </a:xfrm>
          <a:prstGeom prst="rect">
            <a:avLst/>
          </a:prstGeom>
          <a:solidFill>
            <a:srgbClr val="B1DADD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0D83AD3-3BB3-DC48-81DD-3510A0D48E11}"/>
              </a:ext>
            </a:extLst>
          </p:cNvPr>
          <p:cNvSpPr/>
          <p:nvPr/>
        </p:nvSpPr>
        <p:spPr>
          <a:xfrm>
            <a:off x="-7339" y="0"/>
            <a:ext cx="5274453" cy="5446018"/>
          </a:xfrm>
          <a:prstGeom prst="rect">
            <a:avLst/>
          </a:prstGeom>
          <a:solidFill>
            <a:srgbClr val="005560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100"/>
              </a:spcBef>
              <a:spcAft>
                <a:spcPts val="100"/>
              </a:spcAft>
            </a:pPr>
            <a:endParaRPr lang="de-DE" sz="140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1CD66407-1812-EE45-9338-7C8D51674E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18000" y="6156000"/>
            <a:ext cx="2036143" cy="50348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3ED0353B-5303-904D-ABDA-9459DC1A4FB5}"/>
              </a:ext>
            </a:extLst>
          </p:cNvPr>
          <p:cNvSpPr txBox="1"/>
          <p:nvPr/>
        </p:nvSpPr>
        <p:spPr>
          <a:xfrm>
            <a:off x="631665" y="1972096"/>
            <a:ext cx="3996444" cy="2915395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r>
              <a:rPr lang="de-DE" sz="3600" b="1" spc="300" dirty="0">
                <a:solidFill>
                  <a:schemeClr val="bg1"/>
                </a:solidFill>
                <a:latin typeface="Allianz Neo" panose="020B0504020203020204" pitchFamily="34" charset="77"/>
              </a:rPr>
              <a:t>Freischaltungs-prozess</a:t>
            </a:r>
            <a:br>
              <a:rPr lang="de-DE" sz="3600" b="1" spc="300" dirty="0">
                <a:solidFill>
                  <a:schemeClr val="bg1"/>
                </a:solidFill>
                <a:latin typeface="Allianz Neo" panose="020B0504020203020204" pitchFamily="34" charset="77"/>
              </a:rPr>
            </a:br>
            <a:r>
              <a:rPr lang="de-DE" sz="3600" b="1" spc="300" dirty="0">
                <a:solidFill>
                  <a:schemeClr val="bg1"/>
                </a:solidFill>
                <a:latin typeface="Allianz Neo" panose="020B0504020203020204" pitchFamily="34" charset="77"/>
              </a:rPr>
              <a:t>in </a:t>
            </a:r>
            <a:r>
              <a:rPr lang="de-DE" sz="3600" b="1" spc="300" dirty="0" err="1">
                <a:solidFill>
                  <a:schemeClr val="bg1"/>
                </a:solidFill>
                <a:latin typeface="Allianz Neo" panose="020B0504020203020204" pitchFamily="34" charset="77"/>
              </a:rPr>
              <a:t>FirmenOnline</a:t>
            </a:r>
            <a:endParaRPr lang="de-DE" sz="3600" b="1" spc="300" dirty="0">
              <a:solidFill>
                <a:schemeClr val="bg1"/>
              </a:solidFill>
              <a:latin typeface="Allianz Neo" panose="020B0504020203020204" pitchFamily="34" charset="77"/>
            </a:endParaRPr>
          </a:p>
          <a:p>
            <a:endParaRPr lang="de-DE" b="1" spc="300" dirty="0">
              <a:solidFill>
                <a:schemeClr val="bg1"/>
              </a:solidFill>
              <a:latin typeface="Allianz Neo" panose="020B0504020203020204" pitchFamily="34" charset="77"/>
            </a:endParaRPr>
          </a:p>
          <a:p>
            <a:r>
              <a:rPr lang="de-DE" spc="300" dirty="0">
                <a:solidFill>
                  <a:schemeClr val="bg1"/>
                </a:solidFill>
                <a:latin typeface="Allianz Neo Light" panose="020B0304020203020204" pitchFamily="34" charset="77"/>
              </a:rPr>
              <a:t>Januar 2024</a:t>
            </a:r>
          </a:p>
          <a:p>
            <a:endParaRPr lang="de-DE" spc="300" dirty="0">
              <a:solidFill>
                <a:schemeClr val="bg1"/>
              </a:solidFill>
              <a:latin typeface="Allianz Neo Light" panose="020B0304020203020204" pitchFamily="34" charset="77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67115" y="0"/>
            <a:ext cx="6930638" cy="544601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DC47A45-44F3-4506-AD19-F5572473F12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47" r="4793"/>
          <a:stretch/>
        </p:blipFill>
        <p:spPr>
          <a:xfrm>
            <a:off x="5274452" y="0"/>
            <a:ext cx="6930637" cy="685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914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idx="2"/>
          </p:nvPr>
        </p:nvSpPr>
        <p:spPr>
          <a:xfrm>
            <a:off x="4" y="1"/>
            <a:ext cx="8649691" cy="76835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963" name="Google Shape;963;p16"/>
          <p:cNvSpPr txBox="1">
            <a:spLocks noGrp="1"/>
          </p:cNvSpPr>
          <p:nvPr>
            <p:ph type="title"/>
          </p:nvPr>
        </p:nvSpPr>
        <p:spPr>
          <a:xfrm>
            <a:off x="608805" y="516991"/>
            <a:ext cx="10570255" cy="51416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5962" rIns="0" bIns="0" rtlCol="0" anchor="t" anchorCtr="0">
            <a:noAutofit/>
          </a:bodyPr>
          <a:lstStyle/>
          <a:p>
            <a:r>
              <a:rPr lang="de-DE" dirty="0">
                <a:latin typeface="Allianz Neo" panose="020B0504020203020204" pitchFamily="34" charset="0"/>
                <a:cs typeface="Calibri" panose="020F0502020204030204" pitchFamily="34" charset="0"/>
              </a:rPr>
              <a:t>Zwei Freischaltungsanträge für </a:t>
            </a:r>
            <a:r>
              <a:rPr lang="de-DE" dirty="0" err="1">
                <a:latin typeface="Allianz Neo" panose="020B0504020203020204" pitchFamily="34" charset="0"/>
                <a:cs typeface="Calibri" panose="020F0502020204030204" pitchFamily="34" charset="0"/>
              </a:rPr>
              <a:t>FirmenOnline</a:t>
            </a:r>
            <a:endParaRPr sz="1400" b="0" dirty="0">
              <a:latin typeface="Allianz Neo" panose="020B0504020203020204" pitchFamily="34" charset="0"/>
            </a:endParaRPr>
          </a:p>
        </p:txBody>
      </p:sp>
      <p:sp>
        <p:nvSpPr>
          <p:cNvPr id="967" name="Google Shape;967;p16"/>
          <p:cNvSpPr txBox="1">
            <a:spLocks noGrp="1"/>
          </p:cNvSpPr>
          <p:nvPr>
            <p:ph type="sldNum" idx="12"/>
          </p:nvPr>
        </p:nvSpPr>
        <p:spPr>
          <a:xfrm>
            <a:off x="11179062" y="6492842"/>
            <a:ext cx="514095" cy="36550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fld id="{00000000-1234-1234-1234-123412341234}" type="slidenum">
              <a:rPr lang="de-DE">
                <a:solidFill>
                  <a:srgbClr val="000000"/>
                </a:solidFill>
              </a:rPr>
              <a:pPr/>
              <a:t>2</a:t>
            </a:fld>
            <a:endParaRPr>
              <a:solidFill>
                <a:srgbClr val="000000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marL="11113" indent="0"/>
            <a:r>
              <a:rPr lang="de-DE" dirty="0">
                <a:latin typeface="Allianz Neo" panose="020B0504020203020204" pitchFamily="34" charset="77"/>
              </a:rPr>
              <a:t>Freischaltungsprozess in </a:t>
            </a:r>
            <a:r>
              <a:rPr lang="de-DE" dirty="0" err="1">
                <a:latin typeface="Allianz Neo" panose="020B0504020203020204" pitchFamily="34" charset="77"/>
              </a:rPr>
              <a:t>FirmenOnline</a:t>
            </a:r>
            <a:endParaRPr lang="de-DE" dirty="0">
              <a:latin typeface="Allianz Neo" panose="020B0504020203020204" pitchFamily="34" charset="77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5B795CC9-8D6B-49AA-BC61-1970553C48EF}"/>
              </a:ext>
            </a:extLst>
          </p:cNvPr>
          <p:cNvSpPr/>
          <p:nvPr/>
        </p:nvSpPr>
        <p:spPr>
          <a:xfrm>
            <a:off x="513190" y="1522413"/>
            <a:ext cx="11182350" cy="3671577"/>
          </a:xfrm>
          <a:prstGeom prst="rect">
            <a:avLst/>
          </a:prstGeom>
          <a:solidFill>
            <a:srgbClr val="E6F4F6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latin typeface="Allianz Neo" panose="020B0504020203020204" pitchFamily="34" charset="0"/>
              </a:rPr>
              <a:t>Mit der Einführung des sog. </a:t>
            </a:r>
            <a:r>
              <a:rPr lang="de-DE" sz="1600" dirty="0" err="1">
                <a:latin typeface="Allianz Neo" panose="020B0504020203020204" pitchFamily="34" charset="0"/>
              </a:rPr>
              <a:t>FirmenAdministrators</a:t>
            </a:r>
            <a:r>
              <a:rPr lang="de-DE" sz="1600" dirty="0">
                <a:latin typeface="Allianz Neo" panose="020B0504020203020204" pitchFamily="34" charset="0"/>
              </a:rPr>
              <a:t> (</a:t>
            </a:r>
            <a:r>
              <a:rPr lang="de-DE" sz="1600" dirty="0" err="1">
                <a:latin typeface="Allianz Neo" panose="020B0504020203020204" pitchFamily="34" charset="0"/>
              </a:rPr>
              <a:t>FirmenAdmins</a:t>
            </a:r>
            <a:r>
              <a:rPr lang="de-DE" sz="1600" dirty="0">
                <a:latin typeface="Allianz Neo" panose="020B0504020203020204" pitchFamily="34" charset="0"/>
              </a:rPr>
              <a:t>) gibt es </a:t>
            </a:r>
            <a:r>
              <a:rPr lang="de-DE" sz="1600" b="1" dirty="0">
                <a:latin typeface="Allianz Neo" panose="020B0504020203020204" pitchFamily="34" charset="0"/>
              </a:rPr>
              <a:t>zwei Freischaltungsanträge</a:t>
            </a:r>
            <a:r>
              <a:rPr lang="de-DE" sz="1600" dirty="0">
                <a:latin typeface="Allianz Neo" panose="020B0504020203020204" pitchFamily="34" charset="0"/>
              </a:rPr>
              <a:t> zur Freischaltung von Nutzern und Verträgen:</a:t>
            </a:r>
          </a:p>
          <a:p>
            <a:endParaRPr lang="de-DE" sz="1600" dirty="0">
              <a:latin typeface="Allianz Neo" panose="020B05040202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latin typeface="Allianz Neo" panose="020B0504020203020204" pitchFamily="34" charset="0"/>
                <a:hlinkClick r:id="rId3"/>
              </a:rPr>
              <a:t>Freischaltungsantrag für </a:t>
            </a:r>
            <a:r>
              <a:rPr lang="de-DE" sz="1600" dirty="0" err="1">
                <a:latin typeface="Allianz Neo" panose="020B0504020203020204" pitchFamily="34" charset="0"/>
                <a:hlinkClick r:id="rId3"/>
              </a:rPr>
              <a:t>FirmenAdmin</a:t>
            </a:r>
            <a:r>
              <a:rPr lang="de-DE" sz="1600" dirty="0">
                <a:latin typeface="Allianz Neo" panose="020B0504020203020204" pitchFamily="34" charset="0"/>
                <a:hlinkClick r:id="rId3"/>
              </a:rPr>
              <a:t> und weiterer Nutzer</a:t>
            </a:r>
            <a:r>
              <a:rPr lang="de-DE" sz="1600" baseline="30000" dirty="0">
                <a:latin typeface="Allianz Neo" panose="020B0504020203020204" pitchFamily="34" charset="0"/>
              </a:rPr>
              <a:t>1</a:t>
            </a:r>
            <a:r>
              <a:rPr lang="de-DE" sz="1600" dirty="0">
                <a:latin typeface="Allianz Neo" panose="020B0504020203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latin typeface="Allianz Neo" panose="020B0504020203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ischaltungsantrag für Vermittler</a:t>
            </a:r>
            <a:r>
              <a:rPr lang="de-DE" sz="1600" dirty="0">
                <a:latin typeface="Allianz Neo" panose="020B0504020203020204" pitchFamily="34" charset="0"/>
              </a:rPr>
              <a:t> </a:t>
            </a:r>
            <a:r>
              <a:rPr lang="de-DE" sz="1600" dirty="0">
                <a:latin typeface="Allianz Neo" panose="020B0504020203020204" pitchFamily="34" charset="0"/>
                <a:sym typeface="Wingdings" panose="05000000000000000000" pitchFamily="2" charset="2"/>
              </a:rPr>
              <a:t> Vermittler mit persönlichem Allianz-Benutzerschlüssel benötigen keinen Freischaltungsantrag mehr. Sie können den Vermittler-Zugang nutzen.</a:t>
            </a:r>
            <a:endParaRPr lang="de-DE" sz="1600" dirty="0">
              <a:latin typeface="Allianz Neo" panose="020B0504020203020204" pitchFamily="34" charset="0"/>
            </a:endParaRPr>
          </a:p>
          <a:p>
            <a:endParaRPr lang="de-DE" sz="1600" dirty="0">
              <a:latin typeface="Allianz Neo" panose="020B0504020203020204" pitchFamily="34" charset="0"/>
            </a:endParaRPr>
          </a:p>
          <a:p>
            <a:r>
              <a:rPr lang="de-DE" sz="1600" b="1" dirty="0">
                <a:latin typeface="Allianz Neo" panose="020B0504020203020204" pitchFamily="34" charset="0"/>
              </a:rPr>
              <a:t>Warum gibt es zwei Freischaltungsanträge?</a:t>
            </a:r>
          </a:p>
          <a:p>
            <a:r>
              <a:rPr lang="de-DE" sz="1600" dirty="0">
                <a:latin typeface="Allianz Neo" panose="020B0504020203020204" pitchFamily="34" charset="0"/>
              </a:rPr>
              <a:t>Die Freischaltung von Verträgen für Vermittler unterliegt derzeit einer manuellen Prüfung im Service Center und dem Betriebsgebiet. Aus diesem Grund ist eine direkte Freischaltung im Arbeitgeber-Portal durch den </a:t>
            </a:r>
            <a:r>
              <a:rPr lang="de-DE" sz="1600" dirty="0" err="1">
                <a:latin typeface="Allianz Neo" panose="020B0504020203020204" pitchFamily="34" charset="0"/>
              </a:rPr>
              <a:t>FirmenAdmin</a:t>
            </a:r>
            <a:r>
              <a:rPr lang="de-DE" sz="1600" dirty="0">
                <a:latin typeface="Allianz Neo" panose="020B0504020203020204" pitchFamily="34" charset="0"/>
              </a:rPr>
              <a:t> bzw. den Admin nicht möglich.</a:t>
            </a:r>
          </a:p>
          <a:p>
            <a:endParaRPr lang="de-DE" sz="1600" dirty="0">
              <a:latin typeface="Allianz Neo" panose="020B0504020203020204" pitchFamily="34" charset="0"/>
            </a:endParaRPr>
          </a:p>
          <a:p>
            <a:r>
              <a:rPr lang="de-DE" sz="1600" dirty="0">
                <a:latin typeface="Allianz Neo" panose="020B0504020203020204" pitchFamily="34" charset="0"/>
              </a:rPr>
              <a:t>Erfahren Sie in den nachfolgenden Folien, wann Sie welchen Freischaltungsantrag für eine Freischaltung verwenden müssen.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9DE8BDA-E9A0-4757-AD0C-BAB69FFC5B8B}"/>
              </a:ext>
            </a:extLst>
          </p:cNvPr>
          <p:cNvSpPr txBox="1"/>
          <p:nvPr/>
        </p:nvSpPr>
        <p:spPr>
          <a:xfrm>
            <a:off x="521245" y="6094090"/>
            <a:ext cx="11171912" cy="23676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</a:rPr>
              <a:t>1 </a:t>
            </a:r>
            <a:r>
              <a:rPr lang="de-DE" sz="1000" noProof="0" dirty="0">
                <a:solidFill>
                  <a:srgbClr val="000000"/>
                </a:solidFill>
                <a:latin typeface="Allianz Neo" panose="020B0504020203020204" pitchFamily="34" charset="0"/>
              </a:rPr>
              <a:t>Über diesen Freischaltungsantrag können die weiteren Nutzer optional direkt als Admin freigeschaltet werden.</a:t>
            </a:r>
            <a:endParaRPr kumimoji="0" lang="de-DE" sz="10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26410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7" name="Google Shape;967;p16"/>
          <p:cNvSpPr txBox="1">
            <a:spLocks noGrp="1"/>
          </p:cNvSpPr>
          <p:nvPr>
            <p:ph type="sldNum" idx="12"/>
          </p:nvPr>
        </p:nvSpPr>
        <p:spPr>
          <a:xfrm>
            <a:off x="11179062" y="6492842"/>
            <a:ext cx="514095" cy="36550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B6AC1BB-961C-4D7F-A492-74FA87C2020D}"/>
              </a:ext>
            </a:extLst>
          </p:cNvPr>
          <p:cNvSpPr/>
          <p:nvPr/>
        </p:nvSpPr>
        <p:spPr>
          <a:xfrm>
            <a:off x="1355360" y="3887889"/>
            <a:ext cx="2937542" cy="912249"/>
          </a:xfrm>
          <a:prstGeom prst="rect">
            <a:avLst/>
          </a:prstGeom>
          <a:solidFill>
            <a:srgbClr val="E6F4F6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Freischaltungsantrag für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FirmenAdmin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77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  <a:hlinkClick r:id="rId3"/>
              </a:rPr>
              <a:t>https://www.firmenonline.de/freischaltung-firmenadmin.html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 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C8B3AA6-AB50-4E9C-9F95-224BEF9612D8}"/>
              </a:ext>
            </a:extLst>
          </p:cNvPr>
          <p:cNvSpPr/>
          <p:nvPr/>
        </p:nvSpPr>
        <p:spPr>
          <a:xfrm>
            <a:off x="4704815" y="4064447"/>
            <a:ext cx="3155374" cy="1647732"/>
          </a:xfrm>
          <a:prstGeom prst="rect">
            <a:avLst/>
          </a:prstGeom>
          <a:solidFill>
            <a:srgbClr val="E6F4F6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Nutzung</a:t>
            </a:r>
            <a: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 des </a:t>
            </a:r>
            <a:r>
              <a:rPr kumimoji="0" lang="de-DE" sz="1200" b="0" i="0" u="sng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Vermittler-Zugangs</a:t>
            </a:r>
            <a:r>
              <a:rPr kumimoji="0" lang="de-DE" sz="1200" b="0" i="0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nicht möglich: </a:t>
            </a:r>
            <a:b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Freischaltungsantrag für Vermittler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  <a:hlinkClick r:id="rId4"/>
              </a:rPr>
              <a:t>https://www.firmenonline.de/freischaltung-vermittler.html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7AE8A0B-E2F3-470D-BE55-632A25504B70}"/>
              </a:ext>
            </a:extLst>
          </p:cNvPr>
          <p:cNvSpPr/>
          <p:nvPr/>
        </p:nvSpPr>
        <p:spPr>
          <a:xfrm>
            <a:off x="4518272" y="1424572"/>
            <a:ext cx="2789872" cy="540948"/>
          </a:xfrm>
          <a:prstGeom prst="rect">
            <a:avLst/>
          </a:prstGeom>
          <a:solidFill>
            <a:srgbClr val="007D8C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926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 soll berechtigt werden?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156B6D3-E419-4BFD-B5D0-2D2C42C728F7}"/>
              </a:ext>
            </a:extLst>
          </p:cNvPr>
          <p:cNvSpPr/>
          <p:nvPr/>
        </p:nvSpPr>
        <p:spPr>
          <a:xfrm>
            <a:off x="1360868" y="2407210"/>
            <a:ext cx="2932034" cy="642914"/>
          </a:xfrm>
          <a:prstGeom prst="rect">
            <a:avLst/>
          </a:prstGeom>
          <a:solidFill>
            <a:srgbClr val="007D8C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926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ma</a:t>
            </a:r>
            <a:r>
              <a:rPr kumimoji="0" lang="de-DE" sz="12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  <a:r>
              <a:rPr kumimoji="0" lang="de-DE" sz="12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gf. </a:t>
            </a:r>
            <a:r>
              <a:rPr lang="de-DE" sz="1200" b="1" dirty="0">
                <a:solidFill>
                  <a:srgbClr val="FFFFFF"/>
                </a:solidFill>
                <a:latin typeface="Arial"/>
              </a:rPr>
              <a:t>weitere Personen (Firmeneigener Mitarbeiter, Vermittler</a:t>
            </a:r>
            <a:r>
              <a:rPr lang="de-DE" sz="1200" b="1" baseline="30000" dirty="0">
                <a:solidFill>
                  <a:srgbClr val="FFFFFF"/>
                </a:solidFill>
                <a:latin typeface="Arial"/>
              </a:rPr>
              <a:t>1)</a:t>
            </a:r>
            <a:r>
              <a:rPr lang="de-DE" sz="1200" b="1" dirty="0">
                <a:solidFill>
                  <a:srgbClr val="FFFFFF"/>
                </a:solidFill>
                <a:latin typeface="Arial"/>
              </a:rPr>
              <a:t>, Andere)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8BE7345-6045-45F2-B0BE-360210910B0E}"/>
              </a:ext>
            </a:extLst>
          </p:cNvPr>
          <p:cNvSpPr/>
          <p:nvPr/>
        </p:nvSpPr>
        <p:spPr>
          <a:xfrm>
            <a:off x="7061190" y="2340513"/>
            <a:ext cx="2448272" cy="642913"/>
          </a:xfrm>
          <a:prstGeom prst="rect">
            <a:avLst/>
          </a:prstGeom>
          <a:solidFill>
            <a:srgbClr val="007D8C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926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schließlich Vermittler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BB6AC1BB-961C-4D7F-A492-74FA87C2020D}"/>
              </a:ext>
            </a:extLst>
          </p:cNvPr>
          <p:cNvSpPr/>
          <p:nvPr/>
        </p:nvSpPr>
        <p:spPr>
          <a:xfrm>
            <a:off x="1355360" y="4941857"/>
            <a:ext cx="2939776" cy="792194"/>
          </a:xfrm>
          <a:prstGeom prst="rect">
            <a:avLst/>
          </a:prstGeom>
          <a:solidFill>
            <a:srgbClr val="E6F4F6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FirmenAdmin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 darf </a:t>
            </a:r>
            <a:r>
              <a:rPr kumimoji="0" lang="de-DE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nur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 ein </a:t>
            </a:r>
            <a:r>
              <a:rPr kumimoji="0" lang="de-DE" sz="12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Mitarbeiter der Firma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 sein, kein Vermittler.</a:t>
            </a:r>
          </a:p>
        </p:txBody>
      </p:sp>
      <p:sp>
        <p:nvSpPr>
          <p:cNvPr id="53" name="Textplatzhalter 13"/>
          <p:cNvSpPr>
            <a:spLocks noGrp="1"/>
          </p:cNvSpPr>
          <p:nvPr>
            <p:ph type="body" idx="2"/>
          </p:nvPr>
        </p:nvSpPr>
        <p:spPr>
          <a:xfrm>
            <a:off x="4" y="1"/>
            <a:ext cx="8649691" cy="76835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4" name="Google Shape;963;p16"/>
          <p:cNvSpPr txBox="1">
            <a:spLocks noGrp="1"/>
          </p:cNvSpPr>
          <p:nvPr>
            <p:ph type="title"/>
          </p:nvPr>
        </p:nvSpPr>
        <p:spPr>
          <a:xfrm>
            <a:off x="608805" y="516991"/>
            <a:ext cx="10570255" cy="51416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5962" rIns="0" bIns="0" rtlCol="0" anchor="t" anchorCtr="0">
            <a:noAutofit/>
          </a:bodyPr>
          <a:lstStyle/>
          <a:p>
            <a:r>
              <a:rPr lang="de-DE" dirty="0">
                <a:latin typeface="Allianz Neo" panose="020B0504020203020204" pitchFamily="34" charset="77"/>
              </a:rPr>
              <a:t>Welchen Freischaltungsantrag muss ich verwenden? </a:t>
            </a:r>
            <a:endParaRPr sz="1400" b="0" dirty="0"/>
          </a:p>
        </p:txBody>
      </p:sp>
      <p:sp>
        <p:nvSpPr>
          <p:cNvPr id="55" name="Textplatzhalter 1"/>
          <p:cNvSpPr>
            <a:spLocks noGrp="1"/>
          </p:cNvSpPr>
          <p:nvPr>
            <p:ph type="body" idx="3"/>
          </p:nvPr>
        </p:nvSpPr>
        <p:spPr>
          <a:xfrm>
            <a:off x="606820" y="201357"/>
            <a:ext cx="5580063" cy="155575"/>
          </a:xfrm>
        </p:spPr>
        <p:txBody>
          <a:bodyPr/>
          <a:lstStyle/>
          <a:p>
            <a:pPr marL="11113" indent="0"/>
            <a:r>
              <a:rPr lang="de-DE" dirty="0">
                <a:latin typeface="Allianz Neo" panose="020B0504020203020204" pitchFamily="34" charset="77"/>
              </a:rPr>
              <a:t>Freischaltungsprozess in </a:t>
            </a:r>
            <a:r>
              <a:rPr lang="de-DE" dirty="0" err="1">
                <a:latin typeface="Allianz Neo" panose="020B0504020203020204" pitchFamily="34" charset="77"/>
              </a:rPr>
              <a:t>FirmenOnline</a:t>
            </a:r>
            <a:endParaRPr lang="de-DE" dirty="0">
              <a:latin typeface="Allianz Neo" panose="020B0504020203020204" pitchFamily="34" charset="77"/>
            </a:endParaRPr>
          </a:p>
        </p:txBody>
      </p:sp>
      <p:cxnSp>
        <p:nvCxnSpPr>
          <p:cNvPr id="3" name="Gerade Verbindung mit Pfeil 2"/>
          <p:cNvCxnSpPr>
            <a:stCxn id="9" idx="2"/>
            <a:endCxn id="10" idx="0"/>
          </p:cNvCxnSpPr>
          <p:nvPr/>
        </p:nvCxnSpPr>
        <p:spPr>
          <a:xfrm flipH="1">
            <a:off x="2826885" y="1965520"/>
            <a:ext cx="3086323" cy="441690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stCxn id="9" idx="2"/>
            <a:endCxn id="11" idx="0"/>
          </p:cNvCxnSpPr>
          <p:nvPr/>
        </p:nvCxnSpPr>
        <p:spPr>
          <a:xfrm>
            <a:off x="5913208" y="1965520"/>
            <a:ext cx="2372118" cy="374993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stCxn id="11" idx="2"/>
            <a:endCxn id="19" idx="0"/>
          </p:cNvCxnSpPr>
          <p:nvPr/>
        </p:nvCxnSpPr>
        <p:spPr>
          <a:xfrm flipH="1">
            <a:off x="6282502" y="2983426"/>
            <a:ext cx="2002824" cy="1081021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>
            <a:stCxn id="10" idx="2"/>
            <a:endCxn id="15" idx="0"/>
          </p:cNvCxnSpPr>
          <p:nvPr/>
        </p:nvCxnSpPr>
        <p:spPr>
          <a:xfrm flipH="1">
            <a:off x="2824131" y="3050124"/>
            <a:ext cx="2754" cy="837765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BC8B3AA6-AB50-4E9C-9F95-224BEF9612D8}"/>
              </a:ext>
            </a:extLst>
          </p:cNvPr>
          <p:cNvSpPr/>
          <p:nvPr/>
        </p:nvSpPr>
        <p:spPr>
          <a:xfrm>
            <a:off x="8285326" y="4320604"/>
            <a:ext cx="3155374" cy="1135417"/>
          </a:xfrm>
          <a:prstGeom prst="rect">
            <a:avLst/>
          </a:prstGeom>
          <a:solidFill>
            <a:srgbClr val="E6F4F6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100"/>
              </a:spcBef>
              <a:spcAft>
                <a:spcPts val="100"/>
              </a:spcAft>
              <a:defRPr/>
            </a:pPr>
            <a:r>
              <a:rPr lang="de-DE" sz="1200" dirty="0">
                <a:solidFill>
                  <a:srgbClr val="000000"/>
                </a:solidFill>
                <a:latin typeface="Allianz Neo" panose="020B0504020203020204" pitchFamily="34" charset="77"/>
              </a:rPr>
              <a:t>Nutzung des </a:t>
            </a:r>
            <a:r>
              <a:rPr lang="de-DE" sz="1200" u="sng" dirty="0">
                <a:solidFill>
                  <a:srgbClr val="000000"/>
                </a:solidFill>
                <a:latin typeface="Allianz Neo" panose="020B0504020203020204" pitchFamily="34" charset="77"/>
              </a:rPr>
              <a:t>Vermittler-Zugangs</a:t>
            </a:r>
            <a:r>
              <a:rPr lang="de-DE" sz="1200" dirty="0">
                <a:solidFill>
                  <a:srgbClr val="000000"/>
                </a:solidFill>
                <a:latin typeface="Allianz Neo" panose="020B0504020203020204" pitchFamily="34" charset="77"/>
              </a:rPr>
              <a:t> möglich:</a:t>
            </a:r>
            <a:b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</a:br>
            <a:b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</a:br>
            <a:r>
              <a:rPr kumimoji="0" lang="de-DE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77"/>
                <a:ea typeface="+mn-ea"/>
                <a:cs typeface="+mn-cs"/>
              </a:rPr>
              <a:t>Es ist keine </a:t>
            </a:r>
            <a:r>
              <a:rPr lang="de-DE" sz="1200" dirty="0">
                <a:solidFill>
                  <a:srgbClr val="000000"/>
                </a:solidFill>
                <a:latin typeface="Allianz Neo" panose="020B0504020203020204" pitchFamily="34" charset="77"/>
              </a:rPr>
              <a:t>Freischaltung erforderlich. 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77"/>
              <a:ea typeface="+mn-ea"/>
              <a:cs typeface="+mn-cs"/>
            </a:endParaRPr>
          </a:p>
        </p:txBody>
      </p:sp>
      <p:cxnSp>
        <p:nvCxnSpPr>
          <p:cNvPr id="44" name="Gerade Verbindung mit Pfeil 43"/>
          <p:cNvCxnSpPr>
            <a:stCxn id="11" idx="2"/>
            <a:endCxn id="34" idx="0"/>
          </p:cNvCxnSpPr>
          <p:nvPr/>
        </p:nvCxnSpPr>
        <p:spPr>
          <a:xfrm>
            <a:off x="8285326" y="2983426"/>
            <a:ext cx="1577687" cy="1337178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89DE8BDA-E9A0-4757-AD0C-BAB69FFC5B8B}"/>
              </a:ext>
            </a:extLst>
          </p:cNvPr>
          <p:cNvSpPr txBox="1"/>
          <p:nvPr/>
        </p:nvSpPr>
        <p:spPr>
          <a:xfrm>
            <a:off x="953595" y="6255665"/>
            <a:ext cx="10482514" cy="23676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defRPr/>
            </a:pPr>
            <a:r>
              <a:rPr kumimoji="0" lang="de-DE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</a:rPr>
              <a:t>1) </a:t>
            </a:r>
            <a:r>
              <a:rPr lang="de-DE" sz="1000" dirty="0">
                <a:solidFill>
                  <a:srgbClr val="000000"/>
                </a:solidFill>
                <a:latin typeface="Allianz Neo" panose="020B0504020203020204" pitchFamily="34" charset="77"/>
              </a:rPr>
              <a:t>Bei Nutzung des Vermittler-Zugangs ist keine Freischaltung erforderlich</a:t>
            </a:r>
            <a:r>
              <a:rPr lang="de-DE" sz="1000" dirty="0">
                <a:solidFill>
                  <a:srgbClr val="000000"/>
                </a:solidFill>
                <a:latin typeface="Allianz Neo" panose="020B0504020203020204" pitchFamily="34" charset="0"/>
              </a:rPr>
              <a:t>.</a:t>
            </a:r>
            <a:endParaRPr lang="de-DE" sz="1000" baseline="30000" dirty="0">
              <a:solidFill>
                <a:srgbClr val="000000"/>
              </a:solidFill>
              <a:latin typeface="Allianz Neo" panose="020B05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1039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idx="2"/>
          </p:nvPr>
        </p:nvSpPr>
        <p:spPr>
          <a:xfrm>
            <a:off x="4" y="1"/>
            <a:ext cx="8649691" cy="76835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963" name="Google Shape;963;p16"/>
          <p:cNvSpPr txBox="1">
            <a:spLocks noGrp="1"/>
          </p:cNvSpPr>
          <p:nvPr>
            <p:ph type="title"/>
          </p:nvPr>
        </p:nvSpPr>
        <p:spPr>
          <a:xfrm>
            <a:off x="608805" y="516991"/>
            <a:ext cx="10570255" cy="51416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5962" rIns="0" bIns="0" rtlCol="0" anchor="t" anchorCtr="0">
            <a:noAutofit/>
          </a:bodyPr>
          <a:lstStyle/>
          <a:p>
            <a:r>
              <a:rPr lang="de-DE" dirty="0">
                <a:latin typeface="Allianz Neo" panose="020B0504020203020204" pitchFamily="34" charset="0"/>
                <a:cs typeface="Calibri" panose="020F0502020204030204" pitchFamily="34" charset="0"/>
              </a:rPr>
              <a:t>Der </a:t>
            </a:r>
            <a:r>
              <a:rPr lang="de-DE" dirty="0" err="1">
                <a:latin typeface="Allianz Neo" panose="020B0504020203020204" pitchFamily="34" charset="0"/>
                <a:cs typeface="Calibri" panose="020F0502020204030204" pitchFamily="34" charset="0"/>
              </a:rPr>
              <a:t>FirmenAdmin</a:t>
            </a:r>
            <a:r>
              <a:rPr lang="de-DE" dirty="0">
                <a:latin typeface="Allianz Neo" panose="020B0504020203020204" pitchFamily="34" charset="0"/>
                <a:cs typeface="Calibri" panose="020F0502020204030204" pitchFamily="34" charset="0"/>
              </a:rPr>
              <a:t> Freischaltungsantrag</a:t>
            </a:r>
            <a:endParaRPr sz="1400" b="0" dirty="0">
              <a:latin typeface="Allianz Neo" panose="020B0504020203020204" pitchFamily="34" charset="0"/>
            </a:endParaRPr>
          </a:p>
        </p:txBody>
      </p:sp>
      <p:sp>
        <p:nvSpPr>
          <p:cNvPr id="967" name="Google Shape;967;p16"/>
          <p:cNvSpPr txBox="1">
            <a:spLocks noGrp="1"/>
          </p:cNvSpPr>
          <p:nvPr>
            <p:ph type="sldNum" idx="12"/>
          </p:nvPr>
        </p:nvSpPr>
        <p:spPr>
          <a:xfrm>
            <a:off x="11179062" y="6492842"/>
            <a:ext cx="514095" cy="36550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fld id="{00000000-1234-1234-1234-123412341234}" type="slidenum">
              <a:rPr lang="de-DE">
                <a:solidFill>
                  <a:srgbClr val="000000"/>
                </a:solidFill>
              </a:rPr>
              <a:pPr/>
              <a:t>4</a:t>
            </a:fld>
            <a:endParaRPr>
              <a:solidFill>
                <a:srgbClr val="000000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marL="11113" indent="0"/>
            <a:r>
              <a:rPr lang="de-DE" dirty="0">
                <a:latin typeface="Allianz Neo" panose="020B0504020203020204" pitchFamily="34" charset="77"/>
              </a:rPr>
              <a:t>Freischaltungsprozess in </a:t>
            </a:r>
            <a:r>
              <a:rPr lang="de-DE" dirty="0" err="1">
                <a:latin typeface="Allianz Neo" panose="020B0504020203020204" pitchFamily="34" charset="77"/>
              </a:rPr>
              <a:t>FirmenOnline</a:t>
            </a:r>
            <a:endParaRPr lang="de-DE" dirty="0">
              <a:latin typeface="Allianz Neo" panose="020B0504020203020204" pitchFamily="34" charset="77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5B795CC9-8D6B-49AA-BC61-1970553C48EF}"/>
              </a:ext>
            </a:extLst>
          </p:cNvPr>
          <p:cNvSpPr/>
          <p:nvPr/>
        </p:nvSpPr>
        <p:spPr>
          <a:xfrm>
            <a:off x="513190" y="1522413"/>
            <a:ext cx="11182350" cy="3311537"/>
          </a:xfrm>
          <a:prstGeom prst="rect">
            <a:avLst/>
          </a:prstGeom>
          <a:solidFill>
            <a:srgbClr val="E6F4F6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latin typeface="Allianz Neo" panose="020B0504020203020204" pitchFamily="34" charset="0"/>
              </a:rPr>
              <a:t>Im Freischaltungsantrag für den </a:t>
            </a:r>
            <a:r>
              <a:rPr lang="de-DE" sz="1600" dirty="0" err="1">
                <a:latin typeface="Allianz Neo" panose="020B0504020203020204" pitchFamily="34" charset="0"/>
              </a:rPr>
              <a:t>FirmenAdmin</a:t>
            </a:r>
            <a:r>
              <a:rPr lang="de-DE" sz="1600" dirty="0">
                <a:latin typeface="Allianz Neo" panose="020B0504020203020204" pitchFamily="34" charset="0"/>
              </a:rPr>
              <a:t> können:</a:t>
            </a:r>
          </a:p>
          <a:p>
            <a:pPr marL="630900" lvl="1" indent="-342900">
              <a:buFont typeface="Arial" panose="020B0604020202020204" pitchFamily="34" charset="0"/>
              <a:buChar char="•"/>
            </a:pPr>
            <a:r>
              <a:rPr lang="de-DE" sz="1600" dirty="0">
                <a:latin typeface="Allianz Neo" panose="020B0504020203020204" pitchFamily="34" charset="0"/>
              </a:rPr>
              <a:t>ein </a:t>
            </a:r>
            <a:r>
              <a:rPr lang="de-DE" sz="1600" dirty="0" err="1">
                <a:latin typeface="Allianz Neo" panose="020B0504020203020204" pitchFamily="34" charset="0"/>
              </a:rPr>
              <a:t>FirmenAdmin</a:t>
            </a:r>
            <a:r>
              <a:rPr lang="de-DE" sz="1600" dirty="0">
                <a:latin typeface="Allianz Neo" panose="020B0504020203020204" pitchFamily="34" charset="0"/>
              </a:rPr>
              <a:t> </a:t>
            </a:r>
          </a:p>
          <a:p>
            <a:pPr marL="630900" lvl="1" indent="-342900">
              <a:buFont typeface="Arial" panose="020B0604020202020204" pitchFamily="34" charset="0"/>
              <a:buChar char="•"/>
            </a:pPr>
            <a:r>
              <a:rPr lang="de-DE" sz="1600" dirty="0">
                <a:latin typeface="Allianz Neo" panose="020B0504020203020204" pitchFamily="34" charset="0"/>
              </a:rPr>
              <a:t>und bis zu zehn weitere Nutzer (Firmeneigener Mitarbeiter, Vertreter/Makler, Andere) freigeschaltet werden (optional als Admin).</a:t>
            </a:r>
          </a:p>
          <a:p>
            <a:pPr marL="457200" indent="-457200">
              <a:buAutoNum type="arabicPeriod"/>
            </a:pPr>
            <a:endParaRPr lang="de-DE" sz="1600" dirty="0">
              <a:latin typeface="Allianz Neo" panose="020B0504020203020204" pitchFamily="34" charset="0"/>
            </a:endParaRPr>
          </a:p>
          <a:p>
            <a:r>
              <a:rPr lang="de-DE" sz="1600" dirty="0">
                <a:latin typeface="Allianz Neo" panose="020B0504020203020204" pitchFamily="34" charset="0"/>
              </a:rPr>
              <a:t>Ist im Nachgang die Freischaltung weiterer Nutzer erforderlich, können diese ohne Freischaltungsantrag direkt in der Account-Verwaltung des Arbeitgeber-Portals durch den </a:t>
            </a:r>
            <a:r>
              <a:rPr lang="de-DE" sz="1600" dirty="0" err="1">
                <a:latin typeface="Allianz Neo" panose="020B0504020203020204" pitchFamily="34" charset="0"/>
              </a:rPr>
              <a:t>FirmenAdmin</a:t>
            </a:r>
            <a:r>
              <a:rPr lang="de-DE" sz="1600" dirty="0">
                <a:latin typeface="Allianz Neo" panose="020B0504020203020204" pitchFamily="34" charset="0"/>
              </a:rPr>
              <a:t> oder einen Admin freigeschaltet werden.</a:t>
            </a:r>
            <a:r>
              <a:rPr lang="de-DE" sz="1600" baseline="30000" dirty="0">
                <a:latin typeface="Allianz Neo" panose="020B0504020203020204" pitchFamily="34" charset="0"/>
              </a:rPr>
              <a:t>1</a:t>
            </a:r>
            <a:r>
              <a:rPr lang="de-DE" sz="1600" dirty="0">
                <a:latin typeface="Allianz Neo" panose="020B0504020203020204" pitchFamily="34" charset="0"/>
              </a:rPr>
              <a:t> Vermittler können keine weiteren Nutzer direkt im Portal freischalten. </a:t>
            </a:r>
          </a:p>
          <a:p>
            <a:endParaRPr lang="de-DE" sz="1600" dirty="0">
              <a:latin typeface="Allianz Neo" panose="020B0504020203020204" pitchFamily="34" charset="0"/>
            </a:endParaRPr>
          </a:p>
          <a:p>
            <a:r>
              <a:rPr lang="de-DE" sz="1600" b="1" dirty="0">
                <a:latin typeface="Allianz Neo" panose="020B0504020203020204" pitchFamily="34" charset="0"/>
              </a:rPr>
              <a:t>Wie können bereits bestehende </a:t>
            </a:r>
            <a:r>
              <a:rPr lang="de-DE" sz="1600" b="1" dirty="0" err="1">
                <a:latin typeface="Allianz Neo" panose="020B0504020203020204" pitchFamily="34" charset="0"/>
              </a:rPr>
              <a:t>FirmenOnline</a:t>
            </a:r>
            <a:r>
              <a:rPr lang="de-DE" sz="1600" b="1" dirty="0">
                <a:latin typeface="Allianz Neo" panose="020B0504020203020204" pitchFamily="34" charset="0"/>
              </a:rPr>
              <a:t>-Nutzer zum </a:t>
            </a:r>
            <a:r>
              <a:rPr lang="de-DE" sz="1600" b="1" dirty="0" err="1">
                <a:latin typeface="Allianz Neo" panose="020B0504020203020204" pitchFamily="34" charset="0"/>
              </a:rPr>
              <a:t>FirmenAdmin</a:t>
            </a:r>
            <a:r>
              <a:rPr lang="de-DE" sz="1600" b="1" dirty="0">
                <a:latin typeface="Allianz Neo" panose="020B0504020203020204" pitchFamily="34" charset="0"/>
              </a:rPr>
              <a:t> berechtigt werden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dirty="0">
                <a:latin typeface="Allianz Neo" panose="020B0504020203020204" pitchFamily="34" charset="0"/>
              </a:rPr>
              <a:t>Wenn ein bestehender Nutzer </a:t>
            </a:r>
            <a:r>
              <a:rPr lang="de-DE" sz="1600" dirty="0" err="1">
                <a:latin typeface="Allianz Neo" panose="020B0504020203020204" pitchFamily="34" charset="0"/>
              </a:rPr>
              <a:t>FirmenAdmin</a:t>
            </a:r>
            <a:r>
              <a:rPr lang="de-DE" sz="1600" dirty="0">
                <a:latin typeface="Allianz Neo" panose="020B0504020203020204" pitchFamily="34" charset="0"/>
              </a:rPr>
              <a:t> werden möchte, ist ein </a:t>
            </a:r>
            <a:r>
              <a:rPr lang="de-DE" sz="1600" dirty="0">
                <a:latin typeface="Allianz Neo" panose="020B0504020203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ischaltungsantrag</a:t>
            </a:r>
            <a:r>
              <a:rPr lang="de-DE" sz="1600" dirty="0">
                <a:latin typeface="Allianz Neo" panose="020B0504020203020204" pitchFamily="34" charset="0"/>
              </a:rPr>
              <a:t> zur Benennung erforderlich. Nachdem der </a:t>
            </a:r>
            <a:r>
              <a:rPr lang="de-DE" sz="1600" dirty="0" err="1">
                <a:latin typeface="Allianz Neo" panose="020B0504020203020204" pitchFamily="34" charset="0"/>
              </a:rPr>
              <a:t>FirmenAdmin</a:t>
            </a:r>
            <a:r>
              <a:rPr lang="de-DE" sz="1600" dirty="0">
                <a:latin typeface="Allianz Neo" panose="020B0504020203020204" pitchFamily="34" charset="0"/>
              </a:rPr>
              <a:t> freigeschaltet wurde, kann er im Admin-Bereich im Arbeitgeber-Portal weitere Nutzer berechtigen und diese (sofern gewünscht) zum Admin benennen. </a:t>
            </a:r>
          </a:p>
        </p:txBody>
      </p:sp>
      <p:sp>
        <p:nvSpPr>
          <p:cNvPr id="8" name="Abgerundetes Rechteck 4">
            <a:hlinkClick r:id="rId3"/>
            <a:extLst>
              <a:ext uri="{FF2B5EF4-FFF2-40B4-BE49-F238E27FC236}">
                <a16:creationId xmlns:a16="http://schemas.microsoft.com/office/drawing/2014/main" id="{20AB2193-3B9A-48E4-8E9C-660D61DDA03D}"/>
              </a:ext>
            </a:extLst>
          </p:cNvPr>
          <p:cNvSpPr/>
          <p:nvPr/>
        </p:nvSpPr>
        <p:spPr>
          <a:xfrm>
            <a:off x="3464637" y="5157986"/>
            <a:ext cx="5175504" cy="59435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Zum </a:t>
            </a:r>
            <a:r>
              <a:rPr lang="de-DE" sz="1600" b="1" dirty="0" err="1">
                <a:solidFill>
                  <a:schemeClr val="tx1"/>
                </a:solidFill>
              </a:rPr>
              <a:t>FirmenAdmin</a:t>
            </a:r>
            <a:r>
              <a:rPr lang="de-DE" sz="1600" b="1" dirty="0">
                <a:solidFill>
                  <a:schemeClr val="tx1"/>
                </a:solidFill>
              </a:rPr>
              <a:t> </a:t>
            </a:r>
            <a:r>
              <a:rPr lang="de-DE" sz="1600" b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ischaltungsantrag</a:t>
            </a:r>
            <a:r>
              <a:rPr lang="de-DE" sz="1600" b="1" dirty="0">
                <a:solidFill>
                  <a:schemeClr val="tx1"/>
                </a:solidFill>
              </a:rPr>
              <a:t>.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460516" y="5986650"/>
            <a:ext cx="10999286" cy="483960"/>
          </a:xfrm>
          <a:prstGeom prst="rect">
            <a:avLst/>
          </a:prstGeom>
        </p:spPr>
        <p:txBody>
          <a:bodyPr vert="horz" wrap="square" lIns="72000" tIns="72000" rIns="72000" bIns="7200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1</a:t>
            </a:r>
            <a:r>
              <a:rPr kumimoji="0" lang="de-DE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Bitte beachten Sie, dass nur Nutzer mit der Rolle „Firmeneigener Mitarbeiter“ und „Andere“ direkt im Portal freigeschaltet werden können. Vermittler können sich entweder </a:t>
            </a:r>
            <a:r>
              <a:rPr lang="de-DE" sz="1100" dirty="0">
                <a:solidFill>
                  <a:srgbClr val="000000"/>
                </a:solidFill>
                <a:latin typeface="Allianz Neo" panose="020B0504020203020204" pitchFamily="34" charset="0"/>
              </a:rPr>
              <a:t>über den Vermittler-Zugang einloggen (in diesem Falle ist keine Freischaltung mehr erforderlich) oder d</a:t>
            </a:r>
            <a:r>
              <a:rPr kumimoji="0" lang="de-DE" sz="1100" b="0" i="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ie</a:t>
            </a:r>
            <a:r>
              <a:rPr kumimoji="0" lang="de-DE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  <a:ea typeface="+mn-ea"/>
                <a:cs typeface="+mn-cs"/>
              </a:rPr>
              <a:t> Freischaltung erfolgt über den Freischaltungsantrag für Vermittler.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llianz Neo" panose="020B0504020203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07459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6883" y="3612499"/>
            <a:ext cx="4333710" cy="26272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2678" y="3938953"/>
            <a:ext cx="4185241" cy="12442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Textplatzhalter 13"/>
          <p:cNvSpPr>
            <a:spLocks noGrp="1"/>
          </p:cNvSpPr>
          <p:nvPr>
            <p:ph type="body" idx="2"/>
          </p:nvPr>
        </p:nvSpPr>
        <p:spPr>
          <a:xfrm>
            <a:off x="4" y="1"/>
            <a:ext cx="8649691" cy="76835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963" name="Google Shape;963;p16"/>
          <p:cNvSpPr txBox="1">
            <a:spLocks noGrp="1"/>
          </p:cNvSpPr>
          <p:nvPr>
            <p:ph type="title"/>
          </p:nvPr>
        </p:nvSpPr>
        <p:spPr>
          <a:xfrm>
            <a:off x="608805" y="516991"/>
            <a:ext cx="10570255" cy="51416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5962" rIns="0" bIns="0" rtlCol="0" anchor="t" anchorCtr="0">
            <a:noAutofit/>
          </a:bodyPr>
          <a:lstStyle/>
          <a:p>
            <a:r>
              <a:rPr lang="de-DE" dirty="0">
                <a:latin typeface="Allianz Neo" panose="020B0504020203020204" pitchFamily="34" charset="0"/>
                <a:cs typeface="Calibri" panose="020F0502020204030204" pitchFamily="34" charset="0"/>
              </a:rPr>
              <a:t>Die direkte Freischaltung über den Admin-Bereich in der Account-Verwaltung</a:t>
            </a:r>
            <a:endParaRPr lang="de-DE" sz="1400" b="0" dirty="0">
              <a:latin typeface="Allianz Neo" panose="020B0504020203020204" pitchFamily="34" charset="0"/>
            </a:endParaRPr>
          </a:p>
        </p:txBody>
      </p:sp>
      <p:sp>
        <p:nvSpPr>
          <p:cNvPr id="967" name="Google Shape;967;p16"/>
          <p:cNvSpPr txBox="1">
            <a:spLocks noGrp="1"/>
          </p:cNvSpPr>
          <p:nvPr>
            <p:ph type="sldNum" idx="12"/>
          </p:nvPr>
        </p:nvSpPr>
        <p:spPr>
          <a:xfrm>
            <a:off x="11179062" y="6492842"/>
            <a:ext cx="514095" cy="36550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fld id="{00000000-1234-1234-1234-123412341234}" type="slidenum">
              <a:rPr lang="de-DE">
                <a:solidFill>
                  <a:srgbClr val="000000"/>
                </a:solidFill>
              </a:rPr>
              <a:pPr/>
              <a:t>5</a:t>
            </a:fld>
            <a:endParaRPr>
              <a:solidFill>
                <a:srgbClr val="000000"/>
              </a:solidFill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pPr marL="11113" indent="0"/>
            <a:r>
              <a:rPr lang="de-DE" dirty="0">
                <a:latin typeface="Allianz Neo" panose="020B0504020203020204" pitchFamily="34" charset="77"/>
              </a:rPr>
              <a:t>Freischaltungsprozess in </a:t>
            </a:r>
            <a:r>
              <a:rPr lang="de-DE" dirty="0" err="1">
                <a:latin typeface="Allianz Neo" panose="020B0504020203020204" pitchFamily="34" charset="77"/>
              </a:rPr>
              <a:t>FirmenOnline</a:t>
            </a:r>
            <a:endParaRPr lang="de-DE" dirty="0">
              <a:latin typeface="Allianz Neo" panose="020B0504020203020204" pitchFamily="34" charset="77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5B795CC9-8D6B-49AA-BC61-1970553C48EF}"/>
              </a:ext>
            </a:extLst>
          </p:cNvPr>
          <p:cNvSpPr/>
          <p:nvPr/>
        </p:nvSpPr>
        <p:spPr>
          <a:xfrm>
            <a:off x="513190" y="1639376"/>
            <a:ext cx="11182350" cy="1691357"/>
          </a:xfrm>
          <a:prstGeom prst="rect">
            <a:avLst/>
          </a:prstGeom>
          <a:solidFill>
            <a:srgbClr val="E6F4F6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>
                <a:latin typeface="Allianz Neo" panose="020B0504020203020204" pitchFamily="34" charset="0"/>
              </a:rPr>
              <a:t>Ein </a:t>
            </a:r>
            <a:r>
              <a:rPr lang="de-DE" sz="1600" dirty="0" err="1">
                <a:latin typeface="Allianz Neo" panose="020B0504020203020204" pitchFamily="34" charset="0"/>
              </a:rPr>
              <a:t>FirmenAdmin</a:t>
            </a:r>
            <a:r>
              <a:rPr lang="de-DE" sz="1600" dirty="0">
                <a:latin typeface="Allianz Neo" panose="020B0504020203020204" pitchFamily="34" charset="0"/>
              </a:rPr>
              <a:t> oder Admin kann im Arbeitgeber-Portal direkt weitere Nutzer mit der Rolle „Firmeneigener Mitarbeiter“ oder „Andere“ (z.B. externe Dienstleister) freischalten. Bitte beachten Sie, dass Vermittler als Admin keine weiteren Nutzer direkt im Portal freischalten können. </a:t>
            </a:r>
          </a:p>
          <a:p>
            <a:endParaRPr lang="de-DE" sz="1600" dirty="0">
              <a:latin typeface="Allianz Neo" panose="020B0504020203020204" pitchFamily="34" charset="0"/>
            </a:endParaRPr>
          </a:p>
          <a:p>
            <a:r>
              <a:rPr lang="de-DE" sz="1600" dirty="0">
                <a:latin typeface="Allianz Neo" panose="020B0504020203020204" pitchFamily="34" charset="0"/>
              </a:rPr>
              <a:t>Dazu ruft der </a:t>
            </a:r>
            <a:r>
              <a:rPr lang="de-DE" sz="1600" dirty="0" err="1">
                <a:latin typeface="Allianz Neo" panose="020B0504020203020204" pitchFamily="34" charset="0"/>
              </a:rPr>
              <a:t>FirmenAdmin</a:t>
            </a:r>
            <a:r>
              <a:rPr lang="de-DE" sz="1600" dirty="0">
                <a:latin typeface="Allianz Neo" panose="020B0504020203020204" pitchFamily="34" charset="0"/>
              </a:rPr>
              <a:t>/ Admin den Admin-Bereich im Arbeitgeber-Portal auf. Der Admin-Bereich ist unter der Account-Verwaltung zu finden: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5F0329E-5ED8-4A35-B4ED-77E9FAB94178}"/>
              </a:ext>
            </a:extLst>
          </p:cNvPr>
          <p:cNvSpPr/>
          <p:nvPr/>
        </p:nvSpPr>
        <p:spPr>
          <a:xfrm>
            <a:off x="4186994" y="4081531"/>
            <a:ext cx="356966" cy="320371"/>
          </a:xfrm>
          <a:custGeom>
            <a:avLst/>
            <a:gdLst>
              <a:gd name="connsiteX0" fmla="*/ 0 w 356966"/>
              <a:gd name="connsiteY0" fmla="*/ 0 h 320371"/>
              <a:gd name="connsiteX1" fmla="*/ 356966 w 356966"/>
              <a:gd name="connsiteY1" fmla="*/ 0 h 320371"/>
              <a:gd name="connsiteX2" fmla="*/ 356966 w 356966"/>
              <a:gd name="connsiteY2" fmla="*/ 320371 h 320371"/>
              <a:gd name="connsiteX3" fmla="*/ 0 w 356966"/>
              <a:gd name="connsiteY3" fmla="*/ 320371 h 320371"/>
              <a:gd name="connsiteX4" fmla="*/ 0 w 356966"/>
              <a:gd name="connsiteY4" fmla="*/ 0 h 320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966" h="320371" extrusionOk="0">
                <a:moveTo>
                  <a:pt x="0" y="0"/>
                </a:moveTo>
                <a:cubicBezTo>
                  <a:pt x="116726" y="-15643"/>
                  <a:pt x="243052" y="30129"/>
                  <a:pt x="356966" y="0"/>
                </a:cubicBezTo>
                <a:cubicBezTo>
                  <a:pt x="370501" y="132833"/>
                  <a:pt x="350638" y="231052"/>
                  <a:pt x="356966" y="320371"/>
                </a:cubicBezTo>
                <a:cubicBezTo>
                  <a:pt x="222515" y="345803"/>
                  <a:pt x="122801" y="295928"/>
                  <a:pt x="0" y="320371"/>
                </a:cubicBezTo>
                <a:cubicBezTo>
                  <a:pt x="-10631" y="197608"/>
                  <a:pt x="10928" y="83659"/>
                  <a:pt x="0" y="0"/>
                </a:cubicBezTo>
                <a:close/>
              </a:path>
            </a:pathLst>
          </a:custGeom>
          <a:noFill/>
          <a:ln w="38100">
            <a:solidFill>
              <a:srgbClr val="B71E3F"/>
            </a:solidFill>
            <a:extLst>
              <a:ext uri="{C807C97D-BFC1-408E-A445-0C87EB9F89A2}">
                <ask:lineSketchStyleProps xmlns:ask="http://schemas.microsoft.com/office/drawing/2018/sketchyshapes" sd="3421862628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402EB26-C8CE-434D-82C8-012D5D681F35}"/>
              </a:ext>
            </a:extLst>
          </p:cNvPr>
          <p:cNvSpPr/>
          <p:nvPr/>
        </p:nvSpPr>
        <p:spPr>
          <a:xfrm>
            <a:off x="7787394" y="4072507"/>
            <a:ext cx="1296144" cy="257387"/>
          </a:xfrm>
          <a:custGeom>
            <a:avLst/>
            <a:gdLst>
              <a:gd name="connsiteX0" fmla="*/ 0 w 1296144"/>
              <a:gd name="connsiteY0" fmla="*/ 0 h 257387"/>
              <a:gd name="connsiteX1" fmla="*/ 635111 w 1296144"/>
              <a:gd name="connsiteY1" fmla="*/ 0 h 257387"/>
              <a:gd name="connsiteX2" fmla="*/ 1296144 w 1296144"/>
              <a:gd name="connsiteY2" fmla="*/ 0 h 257387"/>
              <a:gd name="connsiteX3" fmla="*/ 1296144 w 1296144"/>
              <a:gd name="connsiteY3" fmla="*/ 257387 h 257387"/>
              <a:gd name="connsiteX4" fmla="*/ 686956 w 1296144"/>
              <a:gd name="connsiteY4" fmla="*/ 257387 h 257387"/>
              <a:gd name="connsiteX5" fmla="*/ 0 w 1296144"/>
              <a:gd name="connsiteY5" fmla="*/ 257387 h 257387"/>
              <a:gd name="connsiteX6" fmla="*/ 0 w 1296144"/>
              <a:gd name="connsiteY6" fmla="*/ 0 h 257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96144" h="257387" extrusionOk="0">
                <a:moveTo>
                  <a:pt x="0" y="0"/>
                </a:moveTo>
                <a:cubicBezTo>
                  <a:pt x="306756" y="-19761"/>
                  <a:pt x="415784" y="-7761"/>
                  <a:pt x="635111" y="0"/>
                </a:cubicBezTo>
                <a:cubicBezTo>
                  <a:pt x="854438" y="7761"/>
                  <a:pt x="1138497" y="9879"/>
                  <a:pt x="1296144" y="0"/>
                </a:cubicBezTo>
                <a:cubicBezTo>
                  <a:pt x="1301031" y="83369"/>
                  <a:pt x="1293833" y="189272"/>
                  <a:pt x="1296144" y="257387"/>
                </a:cubicBezTo>
                <a:cubicBezTo>
                  <a:pt x="1137684" y="268508"/>
                  <a:pt x="970398" y="271498"/>
                  <a:pt x="686956" y="257387"/>
                </a:cubicBezTo>
                <a:cubicBezTo>
                  <a:pt x="403514" y="243276"/>
                  <a:pt x="155558" y="225090"/>
                  <a:pt x="0" y="257387"/>
                </a:cubicBezTo>
                <a:cubicBezTo>
                  <a:pt x="-4346" y="130555"/>
                  <a:pt x="6991" y="112824"/>
                  <a:pt x="0" y="0"/>
                </a:cubicBezTo>
                <a:close/>
              </a:path>
            </a:pathLst>
          </a:custGeom>
          <a:noFill/>
          <a:ln w="38100">
            <a:solidFill>
              <a:srgbClr val="B71E3F"/>
            </a:solidFill>
            <a:extLst>
              <a:ext uri="{C807C97D-BFC1-408E-A445-0C87EB9F89A2}">
                <ask:lineSketchStyleProps xmlns:ask="http://schemas.microsoft.com/office/drawing/2018/sketchyshapes" sd="342186262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857778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idx="2"/>
          </p:nvPr>
        </p:nvSpPr>
        <p:spPr>
          <a:xfrm>
            <a:off x="4" y="1"/>
            <a:ext cx="8649691" cy="76835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963" name="Google Shape;963;p16"/>
          <p:cNvSpPr txBox="1">
            <a:spLocks noGrp="1"/>
          </p:cNvSpPr>
          <p:nvPr>
            <p:ph type="title"/>
          </p:nvPr>
        </p:nvSpPr>
        <p:spPr>
          <a:xfrm>
            <a:off x="608805" y="516991"/>
            <a:ext cx="10570255" cy="51416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35962" rIns="0" bIns="0" rtlCol="0" anchor="t" anchorCtr="0">
            <a:noAutofit/>
          </a:bodyPr>
          <a:lstStyle/>
          <a:p>
            <a:r>
              <a:rPr lang="de-DE" dirty="0">
                <a:latin typeface="Allianz Neo" panose="020B0504020203020204" pitchFamily="34" charset="77"/>
              </a:rPr>
              <a:t>Welche Anwendungsfälle gibt es? </a:t>
            </a:r>
            <a:endParaRPr sz="1400" b="0" dirty="0"/>
          </a:p>
        </p:txBody>
      </p:sp>
      <p:sp>
        <p:nvSpPr>
          <p:cNvPr id="967" name="Google Shape;967;p16"/>
          <p:cNvSpPr txBox="1">
            <a:spLocks noGrp="1"/>
          </p:cNvSpPr>
          <p:nvPr>
            <p:ph type="sldNum" idx="12"/>
          </p:nvPr>
        </p:nvSpPr>
        <p:spPr>
          <a:xfrm>
            <a:off x="11179062" y="6492842"/>
            <a:ext cx="514095" cy="36550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platzhalter 1"/>
          <p:cNvSpPr>
            <a:spLocks noGrp="1"/>
          </p:cNvSpPr>
          <p:nvPr>
            <p:ph type="body" idx="3"/>
          </p:nvPr>
        </p:nvSpPr>
        <p:spPr>
          <a:xfrm>
            <a:off x="606820" y="201357"/>
            <a:ext cx="5580063" cy="155575"/>
          </a:xfrm>
        </p:spPr>
        <p:txBody>
          <a:bodyPr/>
          <a:lstStyle/>
          <a:p>
            <a:pPr marL="11113" indent="0"/>
            <a:r>
              <a:rPr lang="de-DE" dirty="0">
                <a:latin typeface="Allianz Neo" panose="020B0504020203020204" pitchFamily="34" charset="77"/>
              </a:rPr>
              <a:t>Freischaltungsprozess in </a:t>
            </a:r>
            <a:r>
              <a:rPr lang="de-DE" dirty="0" err="1">
                <a:latin typeface="Allianz Neo" panose="020B0504020203020204" pitchFamily="34" charset="77"/>
              </a:rPr>
              <a:t>FirmenOnline</a:t>
            </a:r>
            <a:endParaRPr lang="de-DE" dirty="0">
              <a:latin typeface="Allianz Neo" panose="020B0504020203020204" pitchFamily="34" charset="77"/>
            </a:endParaRP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5888861"/>
              </p:ext>
            </p:extLst>
          </p:nvPr>
        </p:nvGraphicFramePr>
        <p:xfrm>
          <a:off x="516137" y="1377566"/>
          <a:ext cx="11177020" cy="38826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5958">
                  <a:extLst>
                    <a:ext uri="{9D8B030D-6E8A-4147-A177-3AD203B41FA5}">
                      <a16:colId xmlns:a16="http://schemas.microsoft.com/office/drawing/2014/main" val="2225401699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val="2730234043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880980327"/>
                    </a:ext>
                  </a:extLst>
                </a:gridCol>
                <a:gridCol w="2337106">
                  <a:extLst>
                    <a:ext uri="{9D8B030D-6E8A-4147-A177-3AD203B41FA5}">
                      <a16:colId xmlns:a16="http://schemas.microsoft.com/office/drawing/2014/main" val="3368498543"/>
                    </a:ext>
                  </a:extLst>
                </a:gridCol>
                <a:gridCol w="2235404">
                  <a:extLst>
                    <a:ext uri="{9D8B030D-6E8A-4147-A177-3AD203B41FA5}">
                      <a16:colId xmlns:a16="http://schemas.microsoft.com/office/drawing/2014/main" val="3952805618"/>
                    </a:ext>
                  </a:extLst>
                </a:gridCol>
              </a:tblGrid>
              <a:tr h="579883">
                <a:tc>
                  <a:txBody>
                    <a:bodyPr/>
                    <a:lstStyle/>
                    <a:p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Fäl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Antrag </a:t>
                      </a:r>
                      <a:r>
                        <a:rPr lang="de-DE" sz="1600" kern="1200" dirty="0" err="1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FirmenAdmin</a:t>
                      </a:r>
                      <a:endParaRPr lang="de-DE" sz="16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Anlage im Admin-Berei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Antrag Vermittler</a:t>
                      </a:r>
                      <a:r>
                        <a:rPr lang="de-DE" sz="1600" kern="1200" baseline="300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58547670"/>
                  </a:ext>
                </a:extLst>
              </a:tr>
              <a:tr h="10020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Firmenkunde möchte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..sich und seine Kollegen (und ggf. weitere</a:t>
                      </a:r>
                      <a:r>
                        <a:rPr lang="de-DE" sz="1200" kern="1200" baseline="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 Vermittler</a:t>
                      </a:r>
                      <a:r>
                        <a:rPr lang="de-DE" sz="1200" kern="1200" baseline="300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1)</a:t>
                      </a:r>
                      <a:r>
                        <a:rPr lang="de-DE" sz="1200" kern="1200" baseline="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) freischalten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Sich selbst als </a:t>
                      </a:r>
                      <a:r>
                        <a:rPr lang="de-DE" sz="1200" kern="1200" dirty="0" err="1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FirmenAdmin</a:t>
                      </a: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 + Angabe</a:t>
                      </a:r>
                      <a:r>
                        <a:rPr lang="de-DE" sz="1200" kern="1200" baseline="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 der weiteren Kollegen (und ggf. der weiteren Vermittler)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926424"/>
                  </a:ext>
                </a:extLst>
              </a:tr>
              <a:tr h="738898">
                <a:tc>
                  <a:txBody>
                    <a:bodyPr/>
                    <a:lstStyle/>
                    <a:p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Vermittler</a:t>
                      </a:r>
                      <a:r>
                        <a:rPr lang="de-DE" sz="1200" kern="1200" baseline="300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1) </a:t>
                      </a: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möchte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..sich und seinen Kunden (mit mehreren Mitarbeitern) und weitere Vermittler</a:t>
                      </a:r>
                      <a:r>
                        <a:rPr lang="de-DE" sz="1200" kern="1200" baseline="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freischal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Den Kunden als </a:t>
                      </a:r>
                      <a:r>
                        <a:rPr lang="de-DE" sz="1200" kern="1200" dirty="0" err="1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FirmenAdmin</a:t>
                      </a: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 + Angabe der weiteren Mitarbeiter und der Vermitt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681275"/>
                  </a:ext>
                </a:extLst>
              </a:tr>
              <a:tr h="738898">
                <a:tc>
                  <a:txBody>
                    <a:bodyPr/>
                    <a:lstStyle/>
                    <a:p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Firmenkunde oder Vermittler möchte.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..weitere Vermittler</a:t>
                      </a:r>
                      <a:r>
                        <a:rPr lang="de-DE" sz="1200" kern="1200" baseline="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im Nachgang</a:t>
                      </a:r>
                      <a:r>
                        <a:rPr lang="de-DE" sz="1200" kern="1200" baseline="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 freischalten (</a:t>
                      </a:r>
                      <a:r>
                        <a:rPr lang="de-DE" sz="1200" kern="1200" baseline="0" dirty="0" err="1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FirmenAdmin</a:t>
                      </a:r>
                      <a:r>
                        <a:rPr lang="de-DE" sz="1200" kern="1200" baseline="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 bereits vorhanden)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Freischaltung der weiteren Vermittle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066261"/>
                  </a:ext>
                </a:extLst>
              </a:tr>
              <a:tr h="738898">
                <a:tc>
                  <a:txBody>
                    <a:bodyPr/>
                    <a:lstStyle/>
                    <a:p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Firmenkunde möchte</a:t>
                      </a:r>
                      <a:r>
                        <a:rPr lang="de-DE" sz="1200" kern="1200" baseline="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..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..weitere Mitarbeiter der Firma freischal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Freischaltung</a:t>
                      </a:r>
                      <a:r>
                        <a:rPr lang="de-DE" sz="1200" kern="1200" baseline="0" dirty="0">
                          <a:solidFill>
                            <a:schemeClr val="dk1"/>
                          </a:solidFill>
                          <a:latin typeface="Allianz Neo" panose="020B0504020203020204" pitchFamily="34" charset="0"/>
                          <a:ea typeface="+mn-ea"/>
                          <a:cs typeface="+mn-cs"/>
                        </a:rPr>
                        <a:t> der Rollen „Firmeneigener Mitarbeiter“ und „Andere“ direkt im Portal möglich.</a:t>
                      </a:r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kern="1200" dirty="0">
                        <a:solidFill>
                          <a:schemeClr val="dk1"/>
                        </a:solidFill>
                        <a:latin typeface="Allianz Neo" panose="020B05040202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0544493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89DE8BDA-E9A0-4757-AD0C-BAB69FFC5B8B}"/>
              </a:ext>
            </a:extLst>
          </p:cNvPr>
          <p:cNvSpPr txBox="1"/>
          <p:nvPr/>
        </p:nvSpPr>
        <p:spPr>
          <a:xfrm>
            <a:off x="652675" y="6249369"/>
            <a:ext cx="10482514" cy="23676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>
              <a:defRPr/>
            </a:pPr>
            <a:r>
              <a:rPr kumimoji="0" lang="de-DE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llianz Neo" panose="020B0504020203020204" pitchFamily="34" charset="0"/>
              </a:rPr>
              <a:t>1) </a:t>
            </a:r>
            <a:r>
              <a:rPr lang="de-DE" sz="1000" dirty="0">
                <a:solidFill>
                  <a:srgbClr val="000000"/>
                </a:solidFill>
                <a:latin typeface="Allianz Neo" panose="020B0504020203020204" pitchFamily="34" charset="77"/>
              </a:rPr>
              <a:t>Bei Nutzung des Vermittler-Zugangs ist keine Freischaltung erforderlich</a:t>
            </a:r>
            <a:r>
              <a:rPr lang="de-DE" sz="1000" dirty="0">
                <a:solidFill>
                  <a:srgbClr val="000000"/>
                </a:solidFill>
                <a:latin typeface="Allianz Neo" panose="020B0504020203020204" pitchFamily="34" charset="0"/>
              </a:rPr>
              <a:t>.</a:t>
            </a:r>
            <a:endParaRPr lang="de-DE" sz="1000" baseline="30000" dirty="0">
              <a:solidFill>
                <a:srgbClr val="000000"/>
              </a:solidFill>
              <a:latin typeface="Allianz Neo" panose="020B0504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2909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bKxSQNeWT3es9X_RbK3w"/>
</p:tagLst>
</file>

<file path=ppt/theme/theme1.xml><?xml version="1.0" encoding="utf-8"?>
<a:theme xmlns:a="http://schemas.openxmlformats.org/drawingml/2006/main" name="AIC_2018_16zu9">
  <a:themeElements>
    <a:clrScheme name="AZD">
      <a:dk1>
        <a:srgbClr val="000000"/>
      </a:dk1>
      <a:lt1>
        <a:srgbClr val="FFFFFF"/>
      </a:lt1>
      <a:dk2>
        <a:srgbClr val="003781"/>
      </a:dk2>
      <a:lt2>
        <a:srgbClr val="D4CDCD"/>
      </a:lt2>
      <a:accent1>
        <a:srgbClr val="96DCFA"/>
      </a:accent1>
      <a:accent2>
        <a:srgbClr val="CCDD61"/>
      </a:accent2>
      <a:accent3>
        <a:srgbClr val="FDD25C"/>
      </a:accent3>
      <a:accent4>
        <a:srgbClr val="DAD0E1"/>
      </a:accent4>
      <a:accent5>
        <a:srgbClr val="FF934F"/>
      </a:accent5>
      <a:accent6>
        <a:srgbClr val="B1DAD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  <a:extLst>
    <a:ext uri="{05A4C25C-085E-4340-85A3-A5531E510DB2}">
      <thm15:themeFamily xmlns:thm15="http://schemas.microsoft.com/office/thememl/2012/main" name="AIC 16_9.potx" id="{D94132AC-686B-4C09-825C-73A9FE5398F3}" vid="{8A83F24E-0BD8-4983-841F-454437C8DB89}"/>
    </a:ext>
  </a:extLst>
</a:theme>
</file>

<file path=ppt/theme/theme2.xml><?xml version="1.0" encoding="utf-8"?>
<a:theme xmlns:a="http://schemas.openxmlformats.org/drawingml/2006/main" name="Allianz_2015_Master_DE_16_9">
  <a:themeElements>
    <a:clrScheme name="Allianz 2015">
      <a:dk1>
        <a:srgbClr val="000000"/>
      </a:dk1>
      <a:lt1>
        <a:srgbClr val="FFFFFF"/>
      </a:lt1>
      <a:dk2>
        <a:srgbClr val="EDEDED"/>
      </a:dk2>
      <a:lt2>
        <a:srgbClr val="414141"/>
      </a:lt2>
      <a:accent1>
        <a:srgbClr val="003781"/>
      </a:accent1>
      <a:accent2>
        <a:srgbClr val="426BB3"/>
      </a:accent2>
      <a:accent3>
        <a:srgbClr val="819CCC"/>
      </a:accent3>
      <a:accent4>
        <a:srgbClr val="C6CEE2"/>
      </a:accent4>
      <a:accent5>
        <a:srgbClr val="969696"/>
      </a:accent5>
      <a:accent6>
        <a:srgbClr val="D2D2D2"/>
      </a:accent6>
      <a:hlink>
        <a:srgbClr val="7391BA"/>
      </a:hlink>
      <a:folHlink>
        <a:srgbClr val="B2C3D9"/>
      </a:folHlink>
    </a:clrScheme>
    <a:fontScheme name="Allianz_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30000"/>
          </a:spcAft>
          <a:buClr>
            <a:schemeClr val="accent1"/>
          </a:buClr>
          <a:buSzTx/>
          <a:buFont typeface="Wingdings" pitchFamily="2" charset="2"/>
          <a:buNone/>
          <a:tabLst/>
          <a:defRPr kumimoji="0" lang="de-DE" alt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30000"/>
          </a:spcAft>
          <a:buClr>
            <a:schemeClr val="accent1"/>
          </a:buClr>
          <a:buSzTx/>
          <a:buFont typeface="Wingdings" pitchFamily="2" charset="2"/>
          <a:buNone/>
          <a:tabLst/>
          <a:defRPr kumimoji="0" lang="de-DE" alt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/>
</a:theme>
</file>

<file path=ppt/theme/theme3.xml><?xml version="1.0" encoding="utf-8"?>
<a:theme xmlns:a="http://schemas.openxmlformats.org/drawingml/2006/main" name="AZD_Master_2018_16zu9">
  <a:themeElements>
    <a:clrScheme name="AZD">
      <a:dk1>
        <a:srgbClr val="000000"/>
      </a:dk1>
      <a:lt1>
        <a:srgbClr val="FFFFFF"/>
      </a:lt1>
      <a:dk2>
        <a:srgbClr val="003781"/>
      </a:dk2>
      <a:lt2>
        <a:srgbClr val="D4CDCD"/>
      </a:lt2>
      <a:accent1>
        <a:srgbClr val="96DCFA"/>
      </a:accent1>
      <a:accent2>
        <a:srgbClr val="CCDD61"/>
      </a:accent2>
      <a:accent3>
        <a:srgbClr val="FDD25C"/>
      </a:accent3>
      <a:accent4>
        <a:srgbClr val="DAD0E1"/>
      </a:accent4>
      <a:accent5>
        <a:srgbClr val="FF934F"/>
      </a:accent5>
      <a:accent6>
        <a:srgbClr val="B1DAD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qs:outline xmlns:qs="urn:strategyCompass:quickSlide:basic:outline:2014">
  <qs:settings>
    <qs:designID>AllianzAgenda16zu9</qs:designID>
    <qs:numberingChecked>True</qs:numberingChecked>
    <qs:subNumberingChecked>True</qs:subNumberingChecked>
    <qs:pagesNumberChecked>False</qs:pagesNumberChecked>
    <qs:topicsChecked>True</qs:topicsChecked>
    <qs:overviewChecked>True</qs:overviewChecked>
    <qs:chapterNumberOnSlidesChecked>False</qs:chapterNumberOnSlidesChecked>
    <qs:chapterNameOnSlidesChecked>False</qs:chapterNameOnSlidesChecked>
    <qs:autoUpdateChecked>True</qs:autoUpdateChecked>
    <qs:subChaptersOnlyOnActiveChapter>False</qs:subChaptersOnlyOnActiveChapter>
    <qs:separatorOnlyActiveChapterChecked>True</qs:separatorOnlyActiveChapterChecked>
    <qs:overviewWithSubchaptersChecked>True</qs:overviewWithSubchaptersChecked>
    <qs:sectionsChecked>False</qs:sectionsChecked>
    <qs:navigationChecked>False</qs:navigationChecked>
    <qs:linkChecked>False</qs:linkChecked>
  </qs:settings>
  <qs:title>Agenda</qs:title>
  <qs:overviewpage>688</qs:overviewpage>
  <qs:chapter>
    <qs:id>747</qs:id>
    <qs:title>Was wurde erreicht? (Review)</qs:title>
    <qs:navText/>
    <qs:number>1</qs:number>
    <qs:position>1</qs:position>
    <qs:level>0</qs:level>
    <qs:pageNr>3</qs:pageNr>
    <qs:chapter>
      <qs:id>747</qs:id>
      <qs:title>Inhalte des letzten Umsetzungszyklus</qs:title>
      <qs:navText/>
      <qs:number>1.1</qs:number>
      <qs:position>1</qs:position>
      <qs:level>1</qs:level>
      <qs:pageNr>3</qs:pageNr>
    </qs:chapter>
    <qs:chapter>
      <qs:id>692</qs:id>
      <qs:title>Kennzahlen FirmenOnline</qs:title>
      <qs:navText/>
      <qs:number>1.2</qs:number>
      <qs:position>2</qs:position>
      <qs:level>1</qs:level>
      <qs:pageNr>6</qs:pageNr>
    </qs:chapter>
    <qs:chapter>
      <qs:id>693</qs:id>
      <qs:title>Go-Live Landingpage</qs:title>
      <qs:navText/>
      <qs:number>1.3</qs:number>
      <qs:position>3</qs:position>
      <qs:level>1</qs:level>
      <qs:pageNr>9</qs:pageNr>
    </qs:chapter>
  </qs:chapter>
  <qs:chapter>
    <qs:id>695</qs:id>
    <qs:title>Wie wurde es erreicht? (Retrospektive)</qs:title>
    <qs:navText/>
    <qs:number>2</qs:number>
    <qs:position>2</qs:position>
    <qs:level>0</qs:level>
    <qs:pageNr>11</qs:pageNr>
    <qs:chapter>
      <qs:id>695</qs:id>
      <qs:title>Retrospektive und Learnings</qs:title>
      <qs:navText/>
      <qs:number>2.1</qs:number>
      <qs:position>1</qs:position>
      <qs:level>1</qs:level>
      <qs:pageNr>11</qs:pageNr>
    </qs:chapter>
  </qs:chapter>
  <qs:chapter>
    <qs:id>822</qs:id>
    <qs:title>Wie geht es weiter? (Ausblick)</qs:title>
    <qs:navText/>
    <qs:number>3</qs:number>
    <qs:position>3</qs:position>
    <qs:level>0</qs:level>
    <qs:pageNr>13</qs:pageNr>
    <qs:chapter>
      <qs:id>822</qs:id>
      <qs:title>Roadmap</qs:title>
      <qs:navText/>
      <qs:number>3.1</qs:number>
      <qs:position>1</qs:position>
      <qs:level>1</qs:level>
      <qs:pageNr>13</qs:pageNr>
    </qs:chapter>
    <qs:chapter>
      <qs:id>694</qs:id>
      <qs:title>Deep Dives</qs:title>
      <qs:navText/>
      <qs:number>3.2</qs:number>
      <qs:position>2</qs:position>
      <qs:level>1</qs:level>
      <qs:pageNr>15</qs:pageNr>
    </qs:chapter>
    <qs:chapter>
      <qs:id>824</qs:id>
      <qs:title>Budget</qs:title>
      <qs:navText/>
      <qs:number>3.3</qs:number>
      <qs:position>3</qs:position>
      <qs:level>1</qs:level>
      <qs:pageNr>17</qs:pageNr>
    </qs:chapter>
    <qs:chapter>
      <qs:id>829</qs:id>
      <qs:title>Agile@Scale - Tribe FirmenOnline</qs:title>
      <qs:navText/>
      <qs:number>3.4</qs:number>
      <qs:position>4</qs:position>
      <qs:level>1</qs:level>
      <qs:pageNr>20</qs:pageNr>
    </qs:chapter>
  </qs:chapter>
</qs:outline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ractStatus xmlns="c27cf8af-65d7-4264-9ae5-7a696d441928">Entwurf</ContractStatus>
    <ContractDate xmlns="c27cf8af-65d7-4264-9ae5-7a696d441928" xsi:nil="true"/>
    <ExternalContractingParties xmlns="c27cf8af-65d7-4264-9ae5-7a696d441928" xsi:nil="true"/>
    <OutsourcingAgreement xmlns="c27cf8af-65d7-4264-9ae5-7a696d441928" xsi:nil="true"/>
    <MaterialContract xmlns="c27cf8af-65d7-4264-9ae5-7a696d441928" xsi:nil="true"/>
    <DocumentSetDescription xmlns="http://schemas.microsoft.com/sharepoint/v3" xsi:nil="true"/>
    <PlaceOfOriginal xmlns="c27cf8af-65d7-4264-9ae5-7a696d441928" xsi:nil="true"/>
    <ContractType xmlns="c27cf8af-65d7-4264-9ae5-7a696d441928" xsi:nil="true"/>
    <ContractManagers xmlns="c27cf8af-65d7-4264-9ae5-7a696d441928">
      <UserInfo>
        <DisplayName/>
        <AccountId xsi:nil="true"/>
        <AccountType/>
      </UserInfo>
    </ContractManagers>
    <ContractExpirationDate xmlns="c27cf8af-65d7-4264-9ae5-7a696d441928" xsi:nil="true"/>
    <ConversationID xmlns="c27cf8af-65d7-4264-9ae5-7a696d441928" xsi:nil="true"/>
    <DocumentClass xmlns="c27cf8af-65d7-4264-9ae5-7a696d441928" xsi:nil="true"/>
    <lcf76f155ced4ddcb4097134ff3c332f xmlns="fff4caa5-044e-4b85-8155-89b3a7b61d28">
      <Terms xmlns="http://schemas.microsoft.com/office/infopath/2007/PartnerControls"/>
    </lcf76f155ced4ddcb4097134ff3c332f>
    <TaxCatchAll xmlns="c27cf8af-65d7-4264-9ae5-7a696d44192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 oder Email" ma:contentTypeID="0x010100125D78925D459C4792E0AB097CA57A8700FAC6EE99810BDC4EBF7068FDAC12E07A" ma:contentTypeVersion="41" ma:contentTypeDescription="Standard-Inhaltstyp für Dokumente/ Emails ohne besondere Relevanz." ma:contentTypeScope="" ma:versionID="771d206d4381d8f9beb1c52c87a8c0dd">
  <xsd:schema xmlns:xsd="http://www.w3.org/2001/XMLSchema" xmlns:xs="http://www.w3.org/2001/XMLSchema" xmlns:p="http://schemas.microsoft.com/office/2006/metadata/properties" xmlns:ns1="http://schemas.microsoft.com/sharepoint/v3" xmlns:ns2="c27cf8af-65d7-4264-9ae5-7a696d441928" xmlns:ns3="fff4caa5-044e-4b85-8155-89b3a7b61d28" targetNamespace="http://schemas.microsoft.com/office/2006/metadata/properties" ma:root="true" ma:fieldsID="2fdb5285aace60da9554636aba713c3b" ns1:_="" ns2:_="" ns3:_="">
    <xsd:import namespace="http://schemas.microsoft.com/sharepoint/v3"/>
    <xsd:import namespace="c27cf8af-65d7-4264-9ae5-7a696d441928"/>
    <xsd:import namespace="fff4caa5-044e-4b85-8155-89b3a7b61d28"/>
    <xsd:element name="properties">
      <xsd:complexType>
        <xsd:sequence>
          <xsd:element name="documentManagement">
            <xsd:complexType>
              <xsd:all>
                <xsd:element ref="ns2:ContractType" minOccurs="0"/>
                <xsd:element ref="ns2:ContractStatus" minOccurs="0"/>
                <xsd:element ref="ns2:ContractManagers" minOccurs="0"/>
                <xsd:element ref="ns2:OutsourcingAgreement" minOccurs="0"/>
                <xsd:element ref="ns2:ContractDate" minOccurs="0"/>
                <xsd:element ref="ns2:ContractExpirationDate" minOccurs="0"/>
                <xsd:element ref="ns2:MaterialContract" minOccurs="0"/>
                <xsd:element ref="ns2:ExternalContractingParties" minOccurs="0"/>
                <xsd:element ref="ns2:PlaceOfOriginal" minOccurs="0"/>
                <xsd:element ref="ns2:ConversationID" minOccurs="0"/>
                <xsd:element ref="ns2:DocumentClass" minOccurs="0"/>
                <xsd:element ref="ns1:DocumentSetDescription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GenerationTime" minOccurs="0"/>
                <xsd:element ref="ns3:MediaServiceEventHashCode" minOccurs="0"/>
                <xsd:element ref="ns2:SharedWithUsers" minOccurs="0"/>
                <xsd:element ref="ns2:SharedWithDetails" minOccurs="0"/>
                <xsd:element ref="ns3:MediaServiceOCR" minOccurs="0"/>
                <xsd:element ref="ns3:MediaServiceObjectDetectorVersion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SetDescription" ma:index="19" nillable="true" ma:displayName="Description" ma:description="A description of the Document Set" ma:internalName="DocumentSetDescription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7cf8af-65d7-4264-9ae5-7a696d441928" elementFormDefault="qualified">
    <xsd:import namespace="http://schemas.microsoft.com/office/2006/documentManagement/types"/>
    <xsd:import namespace="http://schemas.microsoft.com/office/infopath/2007/PartnerControls"/>
    <xsd:element name="ContractType" ma:index="8" nillable="true" ma:displayName="Vertragsart" ma:description="Attribut zur Klassifizierung des Vertrags. Bitte wählen Sie einen Wert aus der Kategorie Standard Vertragsarten oder Besondere Vertragsarten." ma:format="Dropdown" ma:hidden="true" ma:internalName="ContractType" ma:readOnly="false">
      <xsd:simpleType>
        <xsd:restriction base="dms:Choice">
          <xsd:enumeration value="Standard Vertragsarten (bitte wählen Sie einen Wert aus der Liste):"/>
          <xsd:enumeration value="-----------------------"/>
          <xsd:enumeration value="Dienstleistungsvereinbarung"/>
          <xsd:enumeration value="Kaufvertrag"/>
          <xsd:enumeration value="Kreditvertrag"/>
          <xsd:enumeration value="Vertraulichkeitsvereinbarung"/>
          <xsd:enumeration value="Kooperationsvertrag"/>
          <xsd:enumeration value="Absichtserklärung, Einverständniserklärung"/>
          <xsd:enumeration value="Versicherungsvertrag"/>
          <xsd:enumeration value="Sicherheit, Verwaltungsschreiben, Beglaubigung"/>
          <xsd:enumeration value="Sonstiges"/>
          <xsd:enumeration value="-----------------------"/>
          <xsd:enumeration value="Besondere Vertragsarten (bitte wählen Sie einen Wert aus der Liste):"/>
          <xsd:enumeration value="-----------------------"/>
          <xsd:enumeration value="Arbeitsvertrag"/>
          <xsd:enumeration value="Miet- oder Leasingvertrag"/>
          <xsd:enumeration value="Lizenzvereinbarung"/>
          <xsd:enumeration value="Datenschutzvereinbarung"/>
          <xsd:enumeration value="Vertretungsvereinbarung (gebundener Vertreter)"/>
          <xsd:enumeration value="Provisionsvereinbarung (Makler)"/>
          <xsd:enumeration value="Vertriebsvereinbarung"/>
          <xsd:enumeration value="Arbeitgeber - Betriebsrat / Gewerkschaftsvertrag"/>
          <xsd:enumeration value="Investitions- oder Finanzierungsvertrag"/>
          <xsd:enumeration value="Rückversicherungsvertrag"/>
          <xsd:enumeration value="Aktionärsvertrag"/>
          <xsd:enumeration value="Kontrollabkommen oder Gewinnabführungsvertrag"/>
          <xsd:enumeration value="Joint-Venture-Vertrag"/>
          <xsd:enumeration value="Sicherheitsübereignungsvertrag"/>
          <xsd:enumeration value="Beteiligung oder Unternehmenskauf / Fusionsvertrag"/>
          <xsd:enumeration value="Vertrag mit einem Mitglied des Vorstands oder Aufsichtsrats"/>
        </xsd:restriction>
      </xsd:simpleType>
    </xsd:element>
    <xsd:element name="ContractStatus" ma:index="9" nillable="true" ma:displayName="Vertragsstatus" ma:default="Entwurf" ma:description="Status des Vertrags" ma:format="Dropdown" ma:hidden="true" ma:internalName="ContractStatus" ma:readOnly="false">
      <xsd:simpleType>
        <xsd:restriction base="dms:Choice">
          <xsd:enumeration value="Entwurf"/>
          <xsd:enumeration value="Aktiv"/>
          <xsd:enumeration value="Abgelaufen"/>
        </xsd:restriction>
      </xsd:simpleType>
    </xsd:element>
    <xsd:element name="ContractManagers" ma:index="10" nillable="true" ma:displayName="Vertragsmanager" ma:description="Person(en), die den Vertrag managen und über detailierte Informationen darüber besitzen." ma:hidden="true" ma:list="UserInfo" ma:internalName="ContractManagers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utsourcingAgreement" ma:index="11" nillable="true" ma:displayName="Auslagerungsvertrag" ma:description="Kennzeichnung, ob der Vertrag ein Auslagerungsvertrag gemäß der gruppenweiten Auslagerungsrichtlinie darstellt." ma:format="Dropdown" ma:hidden="true" ma:internalName="OutsourcingAgreement" ma:readOnly="false">
      <xsd:simpleType>
        <xsd:restriction base="dms:Boolean"/>
      </xsd:simpleType>
    </xsd:element>
    <xsd:element name="ContractDate" ma:index="12" nillable="true" ma:displayName="Vertragsdatum" ma:description="Datum, an dem der Vertrag geschlossen wurde." ma:format="DateOnly" ma:hidden="true" ma:internalName="ContractDate" ma:readOnly="false">
      <xsd:simpleType>
        <xsd:restriction base="dms:DateTime"/>
      </xsd:simpleType>
    </xsd:element>
    <xsd:element name="ContractExpirationDate" ma:index="13" nillable="true" ma:displayName="Außerkrafttreten des Vertrags" ma:description="Datum, an dem der Vertrag außer Kraft tritt/ trat." ma:format="DateOnly" ma:hidden="true" ma:internalName="ContractExpirationDate" ma:readOnly="false">
      <xsd:simpleType>
        <xsd:restriction base="dms:DateTime"/>
      </xsd:simpleType>
    </xsd:element>
    <xsd:element name="MaterialContract" ma:index="14" nillable="true" ma:displayName="Materieller Vertrag" ma:description="Kennzeichnung, ob der Vertrag von wesentlicher Bedeutung ist." ma:format="Dropdown" ma:hidden="true" ma:internalName="MaterialContract" ma:readOnly="false">
      <xsd:simpleType>
        <xsd:restriction base="dms:Boolean"/>
      </xsd:simpleType>
    </xsd:element>
    <xsd:element name="ExternalContractingParties" ma:index="15" nillable="true" ma:displayName="Externe Vertragspartner" ma:description="Name(n) der externen Vertragspartei(en)" ma:hidden="true" ma:internalName="ExternalContractingParties" ma:readOnly="false">
      <xsd:simpleType>
        <xsd:restriction base="dms:Text"/>
      </xsd:simpleType>
    </xsd:element>
    <xsd:element name="PlaceOfOriginal" ma:index="16" nillable="true" ma:displayName="Ort des Originaldokuments" ma:description="Ort der analogen Originalversion des Vertrags, falls vorhanden." ma:hidden="true" ma:internalName="PlaceOfOriginal" ma:readOnly="false">
      <xsd:simpleType>
        <xsd:restriction base="dms:Text"/>
      </xsd:simpleType>
    </xsd:element>
    <xsd:element name="ConversationID" ma:index="17" nillable="true" ma:displayName="Konversations-ID der Email." ma:description="Konversations-ID" ma:hidden="true" ma:internalName="ConversationID" ma:readOnly="false">
      <xsd:simpleType>
        <xsd:restriction base="dms:Text"/>
      </xsd:simpleType>
    </xsd:element>
    <xsd:element name="DocumentClass" ma:index="18" nillable="true" ma:displayName="Dokumentenkategorie" ma:description="Attribut zur Klassifizierung des Dokuments gemäß den Vorgaben zur Dokumentenaufbewahrung." ma:format="Dropdown" ma:hidden="true" ma:internalName="DocumentClass" ma:readOnly="false">
      <xsd:simpleType>
        <xsd:restriction base="dms:Choice">
          <xsd:enumeration value="Geschäftsbrief"/>
          <xsd:enumeration value="Buchhaltungsdokument"/>
          <xsd:enumeration value="Wichtige Dokumentation oder Entscheidun"/>
          <xsd:enumeration value="Entscheidung einer Aufsichtsbehörde"/>
          <xsd:enumeration value="Entscheidung einer Behörde"/>
          <xsd:enumeration value="Entscheidungsdokumentation des Vorstands"/>
          <xsd:enumeration value="Entscheidungsdokumentation des Aufsichtsrats"/>
          <xsd:enumeration value="Finanzbericht oder Buchhaltung"/>
          <xsd:enumeration value="Geschäftsbuch oder Liste von Vermögenswerten"/>
          <xsd:enumeration value="Finanzbericht oder Buchhaltung"/>
          <xsd:enumeration value="Unternehmensrichtlinie"/>
          <xsd:enumeration value="Statusbericht, Gesellschaftervertrag, oder sonstiges Gesellschaftsdokument"/>
          <xsd:enumeration value="Dokumentation über Anti-Geldwäsche oder ökonomische Sanktionen"/>
        </xsd:restriction>
      </xsd:simpleType>
    </xsd:element>
    <xsd:element name="TaxCatchAll" ma:index="28" nillable="true" ma:displayName="Taxonomy Catch All Column" ma:hidden="true" ma:list="{c413fb93-ba48-4460-9a98-d9482d155da3}" ma:internalName="TaxCatchAll" ma:showField="CatchAllData" ma:web="c27cf8af-65d7-4264-9ae5-7a696d44192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3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f4caa5-044e-4b85-8155-89b3a7b61d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10820af1-e82f-496e-bbcb-d9502914b7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3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3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Location" ma:index="35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qs:outline xmlns:qs="urn:strategyCompass:quickSlide:basic:outlineSlide:2014">
  <qs:id>798</qs:id>
  <qs:title>Nächster Umsetzungszyklus</qs:title>
  <qs:navText/>
  <qs:number>3.2</qs:number>
  <qs:position>2</qs:position>
  <qs:level>1</qs:level>
  <qs:pageNr>20</qs:pageNr>
  <qs:parent>
    <qs:id>742</qs:id>
    <qs:title>Wie geht es weiter? (Ausblick)</qs:title>
    <qs:navText/>
    <qs:number>3</qs:number>
    <qs:position>3</qs:position>
    <qs:level>0</qs:level>
    <qs:pageNr>15</qs:pageNr>
  </qs:parent>
</qs:outline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BE19596-2121-4863-9E3D-FA3EABB392CA}">
  <ds:schemaRefs>
    <ds:schemaRef ds:uri="urn:strategyCompass:quickSlide:basic:outline:2014"/>
  </ds:schemaRefs>
</ds:datastoreItem>
</file>

<file path=customXml/itemProps2.xml><?xml version="1.0" encoding="utf-8"?>
<ds:datastoreItem xmlns:ds="http://schemas.openxmlformats.org/officeDocument/2006/customXml" ds:itemID="{F200448C-8531-4F4F-B011-A04C3C7511D5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fff4caa5-044e-4b85-8155-89b3a7b61d28"/>
    <ds:schemaRef ds:uri="http://schemas.openxmlformats.org/package/2006/metadata/core-properties"/>
    <ds:schemaRef ds:uri="http://schemas.microsoft.com/office/2006/documentManagement/types"/>
    <ds:schemaRef ds:uri="c27cf8af-65d7-4264-9ae5-7a696d44192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3FB3C76-1809-4940-8221-8C88422FBA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27cf8af-65d7-4264-9ae5-7a696d441928"/>
    <ds:schemaRef ds:uri="fff4caa5-044e-4b85-8155-89b3a7b61d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A5E4E99-EC3A-4B67-BAE6-7E9644BF4EF0}">
  <ds:schemaRefs>
    <ds:schemaRef ds:uri="urn:strategyCompass:quickSlide:basic:outlineSlide:2014"/>
  </ds:schemaRefs>
</ds:datastoreItem>
</file>

<file path=customXml/itemProps5.xml><?xml version="1.0" encoding="utf-8"?>
<ds:datastoreItem xmlns:ds="http://schemas.openxmlformats.org/officeDocument/2006/customXml" ds:itemID="{D604C9B6-FD18-421B-A562-62017197DC3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41</Words>
  <Application>Microsoft Office PowerPoint</Application>
  <PresentationFormat>Benutzerdefiniert</PresentationFormat>
  <Paragraphs>68</Paragraphs>
  <Slides>6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6" baseType="lpstr">
      <vt:lpstr>Allianz Neo</vt:lpstr>
      <vt:lpstr>Allianz Neo Light</vt:lpstr>
      <vt:lpstr>Arial</vt:lpstr>
      <vt:lpstr>Calibri</vt:lpstr>
      <vt:lpstr>Symbol</vt:lpstr>
      <vt:lpstr>Wingdings</vt:lpstr>
      <vt:lpstr>AIC_2018_16zu9</vt:lpstr>
      <vt:lpstr>Allianz_2015_Master_DE_16_9</vt:lpstr>
      <vt:lpstr>AZD_Master_2018_16zu9</vt:lpstr>
      <vt:lpstr>think-cell Folie</vt:lpstr>
      <vt:lpstr>PowerPoint-Präsentation</vt:lpstr>
      <vt:lpstr>Zwei Freischaltungsanträge für FirmenOnline</vt:lpstr>
      <vt:lpstr>Welchen Freischaltungsantrag muss ich verwenden? </vt:lpstr>
      <vt:lpstr>Der FirmenAdmin Freischaltungsantrag</vt:lpstr>
      <vt:lpstr>Die direkte Freischaltung über den Admin-Bereich in der Account-Verwaltung</vt:lpstr>
      <vt:lpstr>Welche Anwendungsfälle gibt es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cp:lastPrinted>2021-08-25T15:27:40Z</cp:lastPrinted>
  <dcterms:created xsi:type="dcterms:W3CDTF">2018-05-29T09:04:08Z</dcterms:created>
  <dcterms:modified xsi:type="dcterms:W3CDTF">2024-01-18T13:2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ate">
    <vt:lpwstr/>
  </property>
  <property fmtid="{D5CDD505-2E9C-101B-9397-08002B2CF9AE}" pid="3" name="location">
    <vt:lpwstr/>
  </property>
  <property fmtid="{D5CDD505-2E9C-101B-9397-08002B2CF9AE}" pid="4" name="department">
    <vt:lpwstr/>
  </property>
  <property fmtid="{D5CDD505-2E9C-101B-9397-08002B2CF9AE}" pid="5" name="footerText">
    <vt:lpwstr/>
  </property>
  <property fmtid="{D5CDD505-2E9C-101B-9397-08002B2CF9AE}" pid="6" name="footerDate">
    <vt:lpwstr/>
  </property>
  <property fmtid="{D5CDD505-2E9C-101B-9397-08002B2CF9AE}" pid="7" name="ContentTypeId">
    <vt:lpwstr>0x010100125D78925D459C4792E0AB097CA57A8700FAC6EE99810BDC4EBF7068FDAC12E07A</vt:lpwstr>
  </property>
  <property fmtid="{D5CDD505-2E9C-101B-9397-08002B2CF9AE}" pid="8" name="Order">
    <vt:r8>100</vt:r8>
  </property>
  <property fmtid="{D5CDD505-2E9C-101B-9397-08002B2CF9AE}" pid="9" name="MediaServiceImageTags">
    <vt:lpwstr/>
  </property>
  <property fmtid="{D5CDD505-2E9C-101B-9397-08002B2CF9AE}" pid="10" name="MSIP_Label_863bc15e-e7bf-41c1-bdb3-03882d8a2e2c_Enabled">
    <vt:lpwstr>true</vt:lpwstr>
  </property>
  <property fmtid="{D5CDD505-2E9C-101B-9397-08002B2CF9AE}" pid="11" name="MSIP_Label_863bc15e-e7bf-41c1-bdb3-03882d8a2e2c_SetDate">
    <vt:lpwstr>2024-01-18T13:27:00Z</vt:lpwstr>
  </property>
  <property fmtid="{D5CDD505-2E9C-101B-9397-08002B2CF9AE}" pid="12" name="MSIP_Label_863bc15e-e7bf-41c1-bdb3-03882d8a2e2c_Method">
    <vt:lpwstr>Privileged</vt:lpwstr>
  </property>
  <property fmtid="{D5CDD505-2E9C-101B-9397-08002B2CF9AE}" pid="13" name="MSIP_Label_863bc15e-e7bf-41c1-bdb3-03882d8a2e2c_Name">
    <vt:lpwstr>863bc15e-e7bf-41c1-bdb3-03882d8a2e2c</vt:lpwstr>
  </property>
  <property fmtid="{D5CDD505-2E9C-101B-9397-08002B2CF9AE}" pid="14" name="MSIP_Label_863bc15e-e7bf-41c1-bdb3-03882d8a2e2c_SiteId">
    <vt:lpwstr>6e06e42d-6925-47c6-b9e7-9581c7ca302a</vt:lpwstr>
  </property>
  <property fmtid="{D5CDD505-2E9C-101B-9397-08002B2CF9AE}" pid="15" name="MSIP_Label_863bc15e-e7bf-41c1-bdb3-03882d8a2e2c_ActionId">
    <vt:lpwstr>afae8bb3-0089-4fbe-8ae7-c10dcbe71164</vt:lpwstr>
  </property>
  <property fmtid="{D5CDD505-2E9C-101B-9397-08002B2CF9AE}" pid="16" name="MSIP_Label_863bc15e-e7bf-41c1-bdb3-03882d8a2e2c_ContentBits">
    <vt:lpwstr>1</vt:lpwstr>
  </property>
  <property fmtid="{D5CDD505-2E9C-101B-9397-08002B2CF9AE}" pid="17" name="_AdHocReviewCycleID">
    <vt:i4>1868211297</vt:i4>
  </property>
  <property fmtid="{D5CDD505-2E9C-101B-9397-08002B2CF9AE}" pid="18" name="_NewReviewCycle">
    <vt:lpwstr/>
  </property>
</Properties>
</file>